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7" r:id="rId5"/>
  </p:sldMasterIdLst>
  <p:notesMasterIdLst>
    <p:notesMasterId r:id="rId26"/>
  </p:notesMasterIdLst>
  <p:handoutMasterIdLst>
    <p:handoutMasterId r:id="rId27"/>
  </p:handoutMasterIdLst>
  <p:sldIdLst>
    <p:sldId id="11278" r:id="rId6"/>
    <p:sldId id="437" r:id="rId7"/>
    <p:sldId id="10831" r:id="rId8"/>
    <p:sldId id="11265" r:id="rId9"/>
    <p:sldId id="11289" r:id="rId10"/>
    <p:sldId id="11288" r:id="rId11"/>
    <p:sldId id="10890" r:id="rId12"/>
    <p:sldId id="11282" r:id="rId13"/>
    <p:sldId id="11283" r:id="rId14"/>
    <p:sldId id="11292" r:id="rId15"/>
    <p:sldId id="11293" r:id="rId16"/>
    <p:sldId id="11294" r:id="rId17"/>
    <p:sldId id="11290" r:id="rId18"/>
    <p:sldId id="11286" r:id="rId19"/>
    <p:sldId id="11295" r:id="rId20"/>
    <p:sldId id="11297" r:id="rId21"/>
    <p:sldId id="11298" r:id="rId22"/>
    <p:sldId id="11291" r:id="rId23"/>
    <p:sldId id="11299" r:id="rId24"/>
    <p:sldId id="11300" r:id="rId25"/>
  </p:sldIdLst>
  <p:sldSz cx="12192000" cy="6858000"/>
  <p:notesSz cx="6797675" cy="9926638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ISNE, Nicolas" initials="CN" lastIdx="1" clrIdx="0"/>
  <p:cmAuthor id="2" name="JOSEPH-ANTOINE, Hubert" initials="JH" lastIdx="7" clrIdx="1"/>
  <p:cmAuthor id="3" name="HUET, Loic" initials="HL" lastIdx="2" clrIdx="2"/>
  <p:cmAuthor id="4" name="TERRIS, Laurent" initials="TL" lastIdx="7" clrIdx="3"/>
  <p:cmAuthor id="5" name="CAUSSIDOU, Fabienne" initials="CF" lastIdx="1" clrIdx="4"/>
  <p:cmAuthor id="6" name="NICOLLET, Marie" initials="NM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1AA"/>
    <a:srgbClr val="E7E7E8"/>
    <a:srgbClr val="BCD3DA"/>
    <a:srgbClr val="1DD4ED"/>
    <a:srgbClr val="3C0C44"/>
    <a:srgbClr val="FF7841"/>
    <a:srgbClr val="A2CAB8"/>
    <a:srgbClr val="5A91DC"/>
    <a:srgbClr val="68A98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389D8F-8519-4379-86DA-2AD907A2BAA9}" v="14" dt="2021-10-01T09:11:47.4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Style moyen 4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Style à thème 1 - Accentuation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929F9F4-4A8F-4326-A1B4-22849713DDAB}" styleName="Style foncé 1 - Accentuation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95" autoAdjust="0"/>
    <p:restoredTop sz="96357" autoAdjust="0"/>
  </p:normalViewPr>
  <p:slideViewPr>
    <p:cSldViewPr snapToGrid="0">
      <p:cViewPr varScale="1">
        <p:scale>
          <a:sx n="106" d="100"/>
          <a:sy n="106" d="100"/>
        </p:scale>
        <p:origin x="924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400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USSIDOU, Fabienne" userId="d3b93ce2-b4f2-4ea8-90dc-56594dbc3f3f" providerId="ADAL" clId="{AC8638E5-F27A-448E-8B87-2A453F3E6F91}"/>
    <pc:docChg chg="delSld">
      <pc:chgData name="CAUSSIDOU, Fabienne" userId="d3b93ce2-b4f2-4ea8-90dc-56594dbc3f3f" providerId="ADAL" clId="{AC8638E5-F27A-448E-8B87-2A453F3E6F91}" dt="2021-07-26T09:10:44.303" v="24" actId="2696"/>
      <pc:docMkLst>
        <pc:docMk/>
      </pc:docMkLst>
      <pc:sldChg chg="del">
        <pc:chgData name="CAUSSIDOU, Fabienne" userId="d3b93ce2-b4f2-4ea8-90dc-56594dbc3f3f" providerId="ADAL" clId="{AC8638E5-F27A-448E-8B87-2A453F3E6F91}" dt="2021-07-26T09:10:39.351" v="6" actId="2696"/>
        <pc:sldMkLst>
          <pc:docMk/>
          <pc:sldMk cId="3437776661" sldId="436"/>
        </pc:sldMkLst>
      </pc:sldChg>
      <pc:sldChg chg="del">
        <pc:chgData name="CAUSSIDOU, Fabienne" userId="d3b93ce2-b4f2-4ea8-90dc-56594dbc3f3f" providerId="ADAL" clId="{AC8638E5-F27A-448E-8B87-2A453F3E6F91}" dt="2021-07-26T09:10:41.066" v="14" actId="2696"/>
        <pc:sldMkLst>
          <pc:docMk/>
          <pc:sldMk cId="2842223102" sldId="437"/>
        </pc:sldMkLst>
      </pc:sldChg>
      <pc:sldChg chg="del">
        <pc:chgData name="CAUSSIDOU, Fabienne" userId="d3b93ce2-b4f2-4ea8-90dc-56594dbc3f3f" providerId="ADAL" clId="{AC8638E5-F27A-448E-8B87-2A453F3E6F91}" dt="2021-07-26T09:10:39.434" v="8" actId="2696"/>
        <pc:sldMkLst>
          <pc:docMk/>
          <pc:sldMk cId="3312837519" sldId="10556"/>
        </pc:sldMkLst>
      </pc:sldChg>
      <pc:sldChg chg="del">
        <pc:chgData name="CAUSSIDOU, Fabienne" userId="d3b93ce2-b4f2-4ea8-90dc-56594dbc3f3f" providerId="ADAL" clId="{AC8638E5-F27A-448E-8B87-2A453F3E6F91}" dt="2021-07-26T09:10:39.659" v="9" actId="2696"/>
        <pc:sldMkLst>
          <pc:docMk/>
          <pc:sldMk cId="4189311133" sldId="10565"/>
        </pc:sldMkLst>
      </pc:sldChg>
      <pc:sldChg chg="del">
        <pc:chgData name="CAUSSIDOU, Fabienne" userId="d3b93ce2-b4f2-4ea8-90dc-56594dbc3f3f" providerId="ADAL" clId="{AC8638E5-F27A-448E-8B87-2A453F3E6F91}" dt="2021-07-26T09:10:39.711" v="10" actId="2696"/>
        <pc:sldMkLst>
          <pc:docMk/>
          <pc:sldMk cId="637291491" sldId="10566"/>
        </pc:sldMkLst>
      </pc:sldChg>
      <pc:sldChg chg="del">
        <pc:chgData name="CAUSSIDOU, Fabienne" userId="d3b93ce2-b4f2-4ea8-90dc-56594dbc3f3f" providerId="ADAL" clId="{AC8638E5-F27A-448E-8B87-2A453F3E6F91}" dt="2021-07-26T09:10:38.646" v="0" actId="2696"/>
        <pc:sldMkLst>
          <pc:docMk/>
          <pc:sldMk cId="4176318226" sldId="10761"/>
        </pc:sldMkLst>
      </pc:sldChg>
      <pc:sldChg chg="del">
        <pc:chgData name="CAUSSIDOU, Fabienne" userId="d3b93ce2-b4f2-4ea8-90dc-56594dbc3f3f" providerId="ADAL" clId="{AC8638E5-F27A-448E-8B87-2A453F3E6F91}" dt="2021-07-26T09:10:42.046" v="20" actId="2696"/>
        <pc:sldMkLst>
          <pc:docMk/>
          <pc:sldMk cId="3658440839" sldId="10810"/>
        </pc:sldMkLst>
      </pc:sldChg>
      <pc:sldChg chg="del">
        <pc:chgData name="CAUSSIDOU, Fabienne" userId="d3b93ce2-b4f2-4ea8-90dc-56594dbc3f3f" providerId="ADAL" clId="{AC8638E5-F27A-448E-8B87-2A453F3E6F91}" dt="2021-07-26T09:10:39.148" v="1" actId="2696"/>
        <pc:sldMkLst>
          <pc:docMk/>
          <pc:sldMk cId="3526743404" sldId="10831"/>
        </pc:sldMkLst>
      </pc:sldChg>
      <pc:sldChg chg="del">
        <pc:chgData name="CAUSSIDOU, Fabienne" userId="d3b93ce2-b4f2-4ea8-90dc-56594dbc3f3f" providerId="ADAL" clId="{AC8638E5-F27A-448E-8B87-2A453F3E6F91}" dt="2021-07-26T09:10:39.381" v="7" actId="2696"/>
        <pc:sldMkLst>
          <pc:docMk/>
          <pc:sldMk cId="3740245416" sldId="10836"/>
        </pc:sldMkLst>
      </pc:sldChg>
      <pc:sldChg chg="del">
        <pc:chgData name="CAUSSIDOU, Fabienne" userId="d3b93ce2-b4f2-4ea8-90dc-56594dbc3f3f" providerId="ADAL" clId="{AC8638E5-F27A-448E-8B87-2A453F3E6F91}" dt="2021-07-26T09:10:43.260" v="22" actId="2696"/>
        <pc:sldMkLst>
          <pc:docMk/>
          <pc:sldMk cId="463155329" sldId="10838"/>
        </pc:sldMkLst>
      </pc:sldChg>
      <pc:sldChg chg="del">
        <pc:chgData name="CAUSSIDOU, Fabienne" userId="d3b93ce2-b4f2-4ea8-90dc-56594dbc3f3f" providerId="ADAL" clId="{AC8638E5-F27A-448E-8B87-2A453F3E6F91}" dt="2021-07-26T09:10:41.036" v="13" actId="2696"/>
        <pc:sldMkLst>
          <pc:docMk/>
          <pc:sldMk cId="2193808527" sldId="10884"/>
        </pc:sldMkLst>
      </pc:sldChg>
      <pc:sldChg chg="del">
        <pc:chgData name="CAUSSIDOU, Fabienne" userId="d3b93ce2-b4f2-4ea8-90dc-56594dbc3f3f" providerId="ADAL" clId="{AC8638E5-F27A-448E-8B87-2A453F3E6F91}" dt="2021-07-26T09:10:40.512" v="11" actId="2696"/>
        <pc:sldMkLst>
          <pc:docMk/>
          <pc:sldMk cId="2308819766" sldId="10888"/>
        </pc:sldMkLst>
      </pc:sldChg>
      <pc:sldChg chg="del">
        <pc:chgData name="CAUSSIDOU, Fabienne" userId="d3b93ce2-b4f2-4ea8-90dc-56594dbc3f3f" providerId="ADAL" clId="{AC8638E5-F27A-448E-8B87-2A453F3E6F91}" dt="2021-07-26T09:10:40.943" v="12" actId="2696"/>
        <pc:sldMkLst>
          <pc:docMk/>
          <pc:sldMk cId="4228117750" sldId="10889"/>
        </pc:sldMkLst>
      </pc:sldChg>
      <pc:sldChg chg="del">
        <pc:chgData name="CAUSSIDOU, Fabienne" userId="d3b93ce2-b4f2-4ea8-90dc-56594dbc3f3f" providerId="ADAL" clId="{AC8638E5-F27A-448E-8B87-2A453F3E6F91}" dt="2021-07-26T09:10:39.180" v="2" actId="2696"/>
        <pc:sldMkLst>
          <pc:docMk/>
          <pc:sldMk cId="1751578126" sldId="10890"/>
        </pc:sldMkLst>
      </pc:sldChg>
      <pc:sldChg chg="del">
        <pc:chgData name="CAUSSIDOU, Fabienne" userId="d3b93ce2-b4f2-4ea8-90dc-56594dbc3f3f" providerId="ADAL" clId="{AC8638E5-F27A-448E-8B87-2A453F3E6F91}" dt="2021-07-26T09:10:39.327" v="5" actId="2696"/>
        <pc:sldMkLst>
          <pc:docMk/>
          <pc:sldMk cId="3008669398" sldId="10891"/>
        </pc:sldMkLst>
      </pc:sldChg>
      <pc:sldChg chg="del">
        <pc:chgData name="CAUSSIDOU, Fabienne" userId="d3b93ce2-b4f2-4ea8-90dc-56594dbc3f3f" providerId="ADAL" clId="{AC8638E5-F27A-448E-8B87-2A453F3E6F91}" dt="2021-07-26T09:10:42.937" v="21" actId="2696"/>
        <pc:sldMkLst>
          <pc:docMk/>
          <pc:sldMk cId="3103613329" sldId="10892"/>
        </pc:sldMkLst>
      </pc:sldChg>
      <pc:sldChg chg="del">
        <pc:chgData name="CAUSSIDOU, Fabienne" userId="d3b93ce2-b4f2-4ea8-90dc-56594dbc3f3f" providerId="ADAL" clId="{AC8638E5-F27A-448E-8B87-2A453F3E6F91}" dt="2021-07-26T09:10:39.270" v="4" actId="2696"/>
        <pc:sldMkLst>
          <pc:docMk/>
          <pc:sldMk cId="2108758834" sldId="10895"/>
        </pc:sldMkLst>
      </pc:sldChg>
      <pc:sldChg chg="del">
        <pc:chgData name="CAUSSIDOU, Fabienne" userId="d3b93ce2-b4f2-4ea8-90dc-56594dbc3f3f" providerId="ADAL" clId="{AC8638E5-F27A-448E-8B87-2A453F3E6F91}" dt="2021-07-26T09:10:41.107" v="15" actId="2696"/>
        <pc:sldMkLst>
          <pc:docMk/>
          <pc:sldMk cId="3618910511" sldId="11265"/>
        </pc:sldMkLst>
      </pc:sldChg>
      <pc:sldChg chg="del">
        <pc:chgData name="CAUSSIDOU, Fabienne" userId="d3b93ce2-b4f2-4ea8-90dc-56594dbc3f3f" providerId="ADAL" clId="{AC8638E5-F27A-448E-8B87-2A453F3E6F91}" dt="2021-07-26T09:10:43.500" v="23" actId="2696"/>
        <pc:sldMkLst>
          <pc:docMk/>
          <pc:sldMk cId="3266029687" sldId="11267"/>
        </pc:sldMkLst>
      </pc:sldChg>
      <pc:sldChg chg="del">
        <pc:chgData name="CAUSSIDOU, Fabienne" userId="d3b93ce2-b4f2-4ea8-90dc-56594dbc3f3f" providerId="ADAL" clId="{AC8638E5-F27A-448E-8B87-2A453F3E6F91}" dt="2021-07-26T09:10:41.123" v="16" actId="2696"/>
        <pc:sldMkLst>
          <pc:docMk/>
          <pc:sldMk cId="1994381881" sldId="11269"/>
        </pc:sldMkLst>
      </pc:sldChg>
      <pc:sldChg chg="del">
        <pc:chgData name="CAUSSIDOU, Fabienne" userId="d3b93ce2-b4f2-4ea8-90dc-56594dbc3f3f" providerId="ADAL" clId="{AC8638E5-F27A-448E-8B87-2A453F3E6F91}" dt="2021-07-26T09:10:41.171" v="17" actId="2696"/>
        <pc:sldMkLst>
          <pc:docMk/>
          <pc:sldMk cId="2093075270" sldId="11270"/>
        </pc:sldMkLst>
      </pc:sldChg>
      <pc:sldChg chg="del">
        <pc:chgData name="CAUSSIDOU, Fabienne" userId="d3b93ce2-b4f2-4ea8-90dc-56594dbc3f3f" providerId="ADAL" clId="{AC8638E5-F27A-448E-8B87-2A453F3E6F91}" dt="2021-07-26T09:10:41.231" v="18" actId="2696"/>
        <pc:sldMkLst>
          <pc:docMk/>
          <pc:sldMk cId="99241296" sldId="11271"/>
        </pc:sldMkLst>
      </pc:sldChg>
      <pc:sldChg chg="del">
        <pc:chgData name="CAUSSIDOU, Fabienne" userId="d3b93ce2-b4f2-4ea8-90dc-56594dbc3f3f" providerId="ADAL" clId="{AC8638E5-F27A-448E-8B87-2A453F3E6F91}" dt="2021-07-26T09:10:41.288" v="19" actId="2696"/>
        <pc:sldMkLst>
          <pc:docMk/>
          <pc:sldMk cId="2696362976" sldId="11272"/>
        </pc:sldMkLst>
      </pc:sldChg>
      <pc:sldChg chg="del">
        <pc:chgData name="CAUSSIDOU, Fabienne" userId="d3b93ce2-b4f2-4ea8-90dc-56594dbc3f3f" providerId="ADAL" clId="{AC8638E5-F27A-448E-8B87-2A453F3E6F91}" dt="2021-07-26T09:10:44.303" v="24" actId="2696"/>
        <pc:sldMkLst>
          <pc:docMk/>
          <pc:sldMk cId="957610004" sldId="11273"/>
        </pc:sldMkLst>
      </pc:sldChg>
      <pc:sldChg chg="del">
        <pc:chgData name="CAUSSIDOU, Fabienne" userId="d3b93ce2-b4f2-4ea8-90dc-56594dbc3f3f" providerId="ADAL" clId="{AC8638E5-F27A-448E-8B87-2A453F3E6F91}" dt="2021-07-26T09:10:39.213" v="3" actId="2696"/>
        <pc:sldMkLst>
          <pc:docMk/>
          <pc:sldMk cId="2792039495" sldId="11277"/>
        </pc:sldMkLst>
      </pc:sldChg>
    </pc:docChg>
  </pc:docChgLst>
  <pc:docChgLst>
    <pc:chgData name="CAUSSIDOU, Fabienne" userId="d3b93ce2-b4f2-4ea8-90dc-56594dbc3f3f" providerId="ADAL" clId="{EC8F5F9F-9FA9-4EFC-9928-5D3B850562D6}"/>
    <pc:docChg chg="undo custSel addSld delSld modSld sldOrd">
      <pc:chgData name="CAUSSIDOU, Fabienne" userId="d3b93ce2-b4f2-4ea8-90dc-56594dbc3f3f" providerId="ADAL" clId="{EC8F5F9F-9FA9-4EFC-9928-5D3B850562D6}" dt="2021-06-08T09:50:00.121" v="348" actId="1076"/>
      <pc:docMkLst>
        <pc:docMk/>
      </pc:docMkLst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3715444027" sldId="257"/>
        </pc:sldMkLst>
      </pc:sldChg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1707861662" sldId="431"/>
        </pc:sldMkLst>
      </pc:sldChg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1448641623" sldId="435"/>
        </pc:sldMkLst>
      </pc:sldChg>
      <pc:sldChg chg="add del ord">
        <pc:chgData name="CAUSSIDOU, Fabienne" userId="d3b93ce2-b4f2-4ea8-90dc-56594dbc3f3f" providerId="ADAL" clId="{EC8F5F9F-9FA9-4EFC-9928-5D3B850562D6}" dt="2021-06-08T09:49:23.128" v="342"/>
        <pc:sldMkLst>
          <pc:docMk/>
          <pc:sldMk cId="3437776661" sldId="436"/>
        </pc:sldMkLst>
      </pc:sldChg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206024111" sldId="454"/>
        </pc:sldMkLst>
      </pc:sldChg>
      <pc:sldChg chg="add del">
        <pc:chgData name="CAUSSIDOU, Fabienne" userId="d3b93ce2-b4f2-4ea8-90dc-56594dbc3f3f" providerId="ADAL" clId="{EC8F5F9F-9FA9-4EFC-9928-5D3B850562D6}" dt="2021-06-08T09:47:24.742" v="323"/>
        <pc:sldMkLst>
          <pc:docMk/>
          <pc:sldMk cId="553215656" sldId="455"/>
        </pc:sldMkLst>
      </pc:sldChg>
      <pc:sldChg chg="modSp">
        <pc:chgData name="CAUSSIDOU, Fabienne" userId="d3b93ce2-b4f2-4ea8-90dc-56594dbc3f3f" providerId="ADAL" clId="{EC8F5F9F-9FA9-4EFC-9928-5D3B850562D6}" dt="2021-06-08T09:29:25.900" v="71" actId="1076"/>
        <pc:sldMkLst>
          <pc:docMk/>
          <pc:sldMk cId="3828858339" sldId="10542"/>
        </pc:sldMkLst>
        <pc:spChg chg="mod">
          <ac:chgData name="CAUSSIDOU, Fabienne" userId="d3b93ce2-b4f2-4ea8-90dc-56594dbc3f3f" providerId="ADAL" clId="{EC8F5F9F-9FA9-4EFC-9928-5D3B850562D6}" dt="2021-06-08T09:29:25.900" v="71" actId="1076"/>
          <ac:spMkLst>
            <pc:docMk/>
            <pc:sldMk cId="3828858339" sldId="10542"/>
            <ac:spMk id="6" creationId="{7D2B60E1-2DAC-4329-B849-9CB70F3C19F0}"/>
          </ac:spMkLst>
        </pc:spChg>
        <pc:spChg chg="mod">
          <ac:chgData name="CAUSSIDOU, Fabienne" userId="d3b93ce2-b4f2-4ea8-90dc-56594dbc3f3f" providerId="ADAL" clId="{EC8F5F9F-9FA9-4EFC-9928-5D3B850562D6}" dt="2021-06-08T09:29:21.776" v="70" actId="207"/>
          <ac:spMkLst>
            <pc:docMk/>
            <pc:sldMk cId="3828858339" sldId="10542"/>
            <ac:spMk id="7" creationId="{FF8A36CC-176C-4998-93EA-74FED01162AB}"/>
          </ac:spMkLst>
        </pc:spChg>
      </pc:sldChg>
      <pc:sldChg chg="addSp delSp modSp">
        <pc:chgData name="CAUSSIDOU, Fabienne" userId="d3b93ce2-b4f2-4ea8-90dc-56594dbc3f3f" providerId="ADAL" clId="{EC8F5F9F-9FA9-4EFC-9928-5D3B850562D6}" dt="2021-06-08T09:36:02.448" v="303" actId="20577"/>
        <pc:sldMkLst>
          <pc:docMk/>
          <pc:sldMk cId="4176318226" sldId="10761"/>
        </pc:sldMkLst>
        <pc:spChg chg="mod">
          <ac:chgData name="CAUSSIDOU, Fabienne" userId="d3b93ce2-b4f2-4ea8-90dc-56594dbc3f3f" providerId="ADAL" clId="{EC8F5F9F-9FA9-4EFC-9928-5D3B850562D6}" dt="2021-06-08T09:29:34.917" v="72"/>
          <ac:spMkLst>
            <pc:docMk/>
            <pc:sldMk cId="4176318226" sldId="10761"/>
            <ac:spMk id="2" creationId="{00000000-0000-0000-0000-000000000000}"/>
          </ac:spMkLst>
        </pc:spChg>
        <pc:spChg chg="mod">
          <ac:chgData name="CAUSSIDOU, Fabienne" userId="d3b93ce2-b4f2-4ea8-90dc-56594dbc3f3f" providerId="ADAL" clId="{EC8F5F9F-9FA9-4EFC-9928-5D3B850562D6}" dt="2021-06-08T09:34:54.725" v="237" actId="14100"/>
          <ac:spMkLst>
            <pc:docMk/>
            <pc:sldMk cId="4176318226" sldId="10761"/>
            <ac:spMk id="4" creationId="{00000000-0000-0000-0000-000000000000}"/>
          </ac:spMkLst>
        </pc:spChg>
        <pc:spChg chg="add mod">
          <ac:chgData name="CAUSSIDOU, Fabienne" userId="d3b93ce2-b4f2-4ea8-90dc-56594dbc3f3f" providerId="ADAL" clId="{EC8F5F9F-9FA9-4EFC-9928-5D3B850562D6}" dt="2021-06-08T09:36:02.448" v="303" actId="20577"/>
          <ac:spMkLst>
            <pc:docMk/>
            <pc:sldMk cId="4176318226" sldId="10761"/>
            <ac:spMk id="5" creationId="{AF207C38-134F-4A54-9352-A3E4C5E546CD}"/>
          </ac:spMkLst>
        </pc:spChg>
        <pc:spChg chg="mod">
          <ac:chgData name="CAUSSIDOU, Fabienne" userId="d3b93ce2-b4f2-4ea8-90dc-56594dbc3f3f" providerId="ADAL" clId="{EC8F5F9F-9FA9-4EFC-9928-5D3B850562D6}" dt="2021-06-08T09:34:51.836" v="236" actId="14100"/>
          <ac:spMkLst>
            <pc:docMk/>
            <pc:sldMk cId="4176318226" sldId="10761"/>
            <ac:spMk id="10" creationId="{C32F784F-38B8-4DF3-99F6-F9D2CD713469}"/>
          </ac:spMkLst>
        </pc:spChg>
        <pc:spChg chg="mod">
          <ac:chgData name="CAUSSIDOU, Fabienne" userId="d3b93ce2-b4f2-4ea8-90dc-56594dbc3f3f" providerId="ADAL" clId="{EC8F5F9F-9FA9-4EFC-9928-5D3B850562D6}" dt="2021-06-08T09:34:58.164" v="238" actId="14100"/>
          <ac:spMkLst>
            <pc:docMk/>
            <pc:sldMk cId="4176318226" sldId="10761"/>
            <ac:spMk id="11" creationId="{BDE83D6C-8E11-46A1-84FD-D7C887B16AEE}"/>
          </ac:spMkLst>
        </pc:spChg>
        <pc:spChg chg="del">
          <ac:chgData name="CAUSSIDOU, Fabienne" userId="d3b93ce2-b4f2-4ea8-90dc-56594dbc3f3f" providerId="ADAL" clId="{EC8F5F9F-9FA9-4EFC-9928-5D3B850562D6}" dt="2021-06-08T09:30:37.829" v="133" actId="478"/>
          <ac:spMkLst>
            <pc:docMk/>
            <pc:sldMk cId="4176318226" sldId="10761"/>
            <ac:spMk id="12" creationId="{7FA0B5C7-0F17-4519-97A7-EC5493E39AA9}"/>
          </ac:spMkLst>
        </pc:spChg>
        <pc:spChg chg="add mod">
          <ac:chgData name="CAUSSIDOU, Fabienne" userId="d3b93ce2-b4f2-4ea8-90dc-56594dbc3f3f" providerId="ADAL" clId="{EC8F5F9F-9FA9-4EFC-9928-5D3B850562D6}" dt="2021-06-08T09:35:26.404" v="277" actId="5793"/>
          <ac:spMkLst>
            <pc:docMk/>
            <pc:sldMk cId="4176318226" sldId="10761"/>
            <ac:spMk id="14" creationId="{518532C0-30A3-4C80-9A82-A5650B6845A9}"/>
          </ac:spMkLst>
        </pc:spChg>
        <pc:spChg chg="del">
          <ac:chgData name="CAUSSIDOU, Fabienne" userId="d3b93ce2-b4f2-4ea8-90dc-56594dbc3f3f" providerId="ADAL" clId="{EC8F5F9F-9FA9-4EFC-9928-5D3B850562D6}" dt="2021-06-08T09:30:42.214" v="136" actId="478"/>
          <ac:spMkLst>
            <pc:docMk/>
            <pc:sldMk cId="4176318226" sldId="10761"/>
            <ac:spMk id="16" creationId="{A8E7EAF9-335B-4DD0-AEF5-652F5E371E8A}"/>
          </ac:spMkLst>
        </pc:spChg>
        <pc:picChg chg="del">
          <ac:chgData name="CAUSSIDOU, Fabienne" userId="d3b93ce2-b4f2-4ea8-90dc-56594dbc3f3f" providerId="ADAL" clId="{EC8F5F9F-9FA9-4EFC-9928-5D3B850562D6}" dt="2021-06-08T09:30:40.012" v="134" actId="478"/>
          <ac:picMkLst>
            <pc:docMk/>
            <pc:sldMk cId="4176318226" sldId="10761"/>
            <ac:picMk id="13" creationId="{B07D2551-1ACB-4602-9B08-CC2F91809413}"/>
          </ac:picMkLst>
        </pc:picChg>
        <pc:picChg chg="del">
          <ac:chgData name="CAUSSIDOU, Fabienne" userId="d3b93ce2-b4f2-4ea8-90dc-56594dbc3f3f" providerId="ADAL" clId="{EC8F5F9F-9FA9-4EFC-9928-5D3B850562D6}" dt="2021-06-08T09:30:40.878" v="135" actId="478"/>
          <ac:picMkLst>
            <pc:docMk/>
            <pc:sldMk cId="4176318226" sldId="10761"/>
            <ac:picMk id="15" creationId="{C5FA08E6-D510-4B16-9196-E36C0AEC3007}"/>
          </ac:picMkLst>
        </pc:picChg>
      </pc:sldChg>
      <pc:sldChg chg="modSp add">
        <pc:chgData name="CAUSSIDOU, Fabienne" userId="d3b93ce2-b4f2-4ea8-90dc-56594dbc3f3f" providerId="ADAL" clId="{EC8F5F9F-9FA9-4EFC-9928-5D3B850562D6}" dt="2021-06-08T09:45:53.793" v="305"/>
        <pc:sldMkLst>
          <pc:docMk/>
          <pc:sldMk cId="3526743404" sldId="10831"/>
        </pc:sldMkLst>
        <pc:spChg chg="mod">
          <ac:chgData name="CAUSSIDOU, Fabienne" userId="d3b93ce2-b4f2-4ea8-90dc-56594dbc3f3f" providerId="ADAL" clId="{EC8F5F9F-9FA9-4EFC-9928-5D3B850562D6}" dt="2021-06-08T09:45:53.793" v="305"/>
          <ac:spMkLst>
            <pc:docMk/>
            <pc:sldMk cId="3526743404" sldId="10831"/>
            <ac:spMk id="2" creationId="{BF2CA779-8850-43E8-B0D8-47FE7A773A70}"/>
          </ac:spMkLst>
        </pc:spChg>
      </pc:sldChg>
      <pc:sldChg chg="modSp ord">
        <pc:chgData name="CAUSSIDOU, Fabienne" userId="d3b93ce2-b4f2-4ea8-90dc-56594dbc3f3f" providerId="ADAL" clId="{EC8F5F9F-9FA9-4EFC-9928-5D3B850562D6}" dt="2021-06-08T09:46:33.200" v="319" actId="20577"/>
        <pc:sldMkLst>
          <pc:docMk/>
          <pc:sldMk cId="936266656" sldId="10837"/>
        </pc:sldMkLst>
        <pc:spChg chg="mod">
          <ac:chgData name="CAUSSIDOU, Fabienne" userId="d3b93ce2-b4f2-4ea8-90dc-56594dbc3f3f" providerId="ADAL" clId="{EC8F5F9F-9FA9-4EFC-9928-5D3B850562D6}" dt="2021-06-08T09:46:33.200" v="319" actId="20577"/>
          <ac:spMkLst>
            <pc:docMk/>
            <pc:sldMk cId="936266656" sldId="10837"/>
            <ac:spMk id="11" creationId="{BDE83D6C-8E11-46A1-84FD-D7C887B16AEE}"/>
          </ac:spMkLst>
        </pc:spChg>
      </pc:sldChg>
      <pc:sldChg chg="modSp add">
        <pc:chgData name="CAUSSIDOU, Fabienne" userId="d3b93ce2-b4f2-4ea8-90dc-56594dbc3f3f" providerId="ADAL" clId="{EC8F5F9F-9FA9-4EFC-9928-5D3B850562D6}" dt="2021-06-08T09:46:10.883" v="308"/>
        <pc:sldMkLst>
          <pc:docMk/>
          <pc:sldMk cId="2193808527" sldId="10884"/>
        </pc:sldMkLst>
        <pc:spChg chg="mod">
          <ac:chgData name="CAUSSIDOU, Fabienne" userId="d3b93ce2-b4f2-4ea8-90dc-56594dbc3f3f" providerId="ADAL" clId="{EC8F5F9F-9FA9-4EFC-9928-5D3B850562D6}" dt="2021-06-08T09:46:10.883" v="308"/>
          <ac:spMkLst>
            <pc:docMk/>
            <pc:sldMk cId="2193808527" sldId="10884"/>
            <ac:spMk id="2" creationId="{BF2CA779-8850-43E8-B0D8-47FE7A773A70}"/>
          </ac:spMkLst>
        </pc:spChg>
      </pc:sldChg>
      <pc:sldChg chg="add del">
        <pc:chgData name="CAUSSIDOU, Fabienne" userId="d3b93ce2-b4f2-4ea8-90dc-56594dbc3f3f" providerId="ADAL" clId="{EC8F5F9F-9FA9-4EFC-9928-5D3B850562D6}" dt="2021-06-08T09:47:23.990" v="322"/>
        <pc:sldMkLst>
          <pc:docMk/>
          <pc:sldMk cId="2647101644" sldId="10885"/>
        </pc:sldMkLst>
      </pc:sldChg>
      <pc:sldChg chg="modSp add">
        <pc:chgData name="CAUSSIDOU, Fabienne" userId="d3b93ce2-b4f2-4ea8-90dc-56594dbc3f3f" providerId="ADAL" clId="{EC8F5F9F-9FA9-4EFC-9928-5D3B850562D6}" dt="2021-06-08T09:48:03.746" v="332" actId="20577"/>
        <pc:sldMkLst>
          <pc:docMk/>
          <pc:sldMk cId="3134853770" sldId="10885"/>
        </pc:sldMkLst>
        <pc:spChg chg="mod">
          <ac:chgData name="CAUSSIDOU, Fabienne" userId="d3b93ce2-b4f2-4ea8-90dc-56594dbc3f3f" providerId="ADAL" clId="{EC8F5F9F-9FA9-4EFC-9928-5D3B850562D6}" dt="2021-06-08T09:48:03.746" v="332" actId="20577"/>
          <ac:spMkLst>
            <pc:docMk/>
            <pc:sldMk cId="3134853770" sldId="10885"/>
            <ac:spMk id="11" creationId="{BDE83D6C-8E11-46A1-84FD-D7C887B16AEE}"/>
          </ac:spMkLst>
        </pc:spChg>
      </pc:sldChg>
      <pc:sldChg chg="del">
        <pc:chgData name="CAUSSIDOU, Fabienne" userId="d3b93ce2-b4f2-4ea8-90dc-56594dbc3f3f" providerId="ADAL" clId="{EC8F5F9F-9FA9-4EFC-9928-5D3B850562D6}" dt="2021-06-08T09:47:34.081" v="324"/>
        <pc:sldMkLst>
          <pc:docMk/>
          <pc:sldMk cId="3467740866" sldId="10885"/>
        </pc:sldMkLst>
      </pc:sldChg>
      <pc:sldChg chg="addSp modSp add">
        <pc:chgData name="CAUSSIDOU, Fabienne" userId="d3b93ce2-b4f2-4ea8-90dc-56594dbc3f3f" providerId="ADAL" clId="{EC8F5F9F-9FA9-4EFC-9928-5D3B850562D6}" dt="2021-06-08T09:50:00.121" v="348" actId="1076"/>
        <pc:sldMkLst>
          <pc:docMk/>
          <pc:sldMk cId="2642836659" sldId="10886"/>
        </pc:sldMkLst>
        <pc:spChg chg="add mod">
          <ac:chgData name="CAUSSIDOU, Fabienne" userId="d3b93ce2-b4f2-4ea8-90dc-56594dbc3f3f" providerId="ADAL" clId="{EC8F5F9F-9FA9-4EFC-9928-5D3B850562D6}" dt="2021-06-08T09:50:00.121" v="348" actId="1076"/>
          <ac:spMkLst>
            <pc:docMk/>
            <pc:sldMk cId="2642836659" sldId="10886"/>
            <ac:spMk id="7" creationId="{A9865850-15FB-4D8B-A9DA-B89FD984BED8}"/>
          </ac:spMkLst>
        </pc:spChg>
        <pc:spChg chg="mod">
          <ac:chgData name="CAUSSIDOU, Fabienne" userId="d3b93ce2-b4f2-4ea8-90dc-56594dbc3f3f" providerId="ADAL" clId="{EC8F5F9F-9FA9-4EFC-9928-5D3B850562D6}" dt="2021-06-08T09:48:43.566" v="341" actId="20577"/>
          <ac:spMkLst>
            <pc:docMk/>
            <pc:sldMk cId="2642836659" sldId="10886"/>
            <ac:spMk id="11" creationId="{BDE83D6C-8E11-46A1-84FD-D7C887B16AEE}"/>
          </ac:spMkLst>
        </pc:spChg>
      </pc:sldChg>
    </pc:docChg>
  </pc:docChgLst>
  <pc:docChgLst>
    <pc:chgData name="HUET, Loic" userId="433d11f0-70fc-4616-b4df-e3f24d4e652e" providerId="ADAL" clId="{8D5FBDCE-7EF2-477F-AA49-D717802026A7}"/>
    <pc:docChg chg="modSld">
      <pc:chgData name="HUET, Loic" userId="433d11f0-70fc-4616-b4df-e3f24d4e652e" providerId="ADAL" clId="{8D5FBDCE-7EF2-477F-AA49-D717802026A7}" dt="2021-07-07T03:51:50.913" v="0" actId="1076"/>
      <pc:docMkLst>
        <pc:docMk/>
      </pc:docMkLst>
      <pc:sldChg chg="modSp">
        <pc:chgData name="HUET, Loic" userId="433d11f0-70fc-4616-b4df-e3f24d4e652e" providerId="ADAL" clId="{8D5FBDCE-7EF2-477F-AA49-D717802026A7}" dt="2021-07-07T03:51:50.913" v="0" actId="1076"/>
        <pc:sldMkLst>
          <pc:docMk/>
          <pc:sldMk cId="3005807625" sldId="11274"/>
        </pc:sldMkLst>
        <pc:spChg chg="mod">
          <ac:chgData name="HUET, Loic" userId="433d11f0-70fc-4616-b4df-e3f24d4e652e" providerId="ADAL" clId="{8D5FBDCE-7EF2-477F-AA49-D717802026A7}" dt="2021-07-07T03:51:50.913" v="0" actId="1076"/>
          <ac:spMkLst>
            <pc:docMk/>
            <pc:sldMk cId="3005807625" sldId="11274"/>
            <ac:spMk id="3" creationId="{FE65991F-821B-45E3-ABAA-DD7EF560E916}"/>
          </ac:spMkLst>
        </pc:spChg>
      </pc:sldChg>
    </pc:docChg>
  </pc:docChgLst>
  <pc:docChgLst>
    <pc:chgData name="CAUSSIDOU, Fabienne" userId="d3b93ce2-b4f2-4ea8-90dc-56594dbc3f3f" providerId="ADAL" clId="{299911BD-9083-418C-BF2F-6352EC602B55}"/>
    <pc:docChg chg="undo custSel addSld delSld modSld sldOrd">
      <pc:chgData name="CAUSSIDOU, Fabienne" userId="d3b93ce2-b4f2-4ea8-90dc-56594dbc3f3f" providerId="ADAL" clId="{299911BD-9083-418C-BF2F-6352EC602B55}" dt="2021-07-06T16:34:00.355" v="8713" actId="1076"/>
      <pc:docMkLst>
        <pc:docMk/>
      </pc:docMkLst>
      <pc:sldChg chg="addSp delSp modSp del">
        <pc:chgData name="CAUSSIDOU, Fabienne" userId="d3b93ce2-b4f2-4ea8-90dc-56594dbc3f3f" providerId="ADAL" clId="{299911BD-9083-418C-BF2F-6352EC602B55}" dt="2021-06-22T15:06:42.984" v="1527" actId="2696"/>
        <pc:sldMkLst>
          <pc:docMk/>
          <pc:sldMk cId="3715444027" sldId="257"/>
        </pc:sldMkLst>
        <pc:spChg chg="del">
          <ac:chgData name="CAUSSIDOU, Fabienne" userId="d3b93ce2-b4f2-4ea8-90dc-56594dbc3f3f" providerId="ADAL" clId="{299911BD-9083-418C-BF2F-6352EC602B55}" dt="2021-06-22T14:58:44.920" v="1272" actId="478"/>
          <ac:spMkLst>
            <pc:docMk/>
            <pc:sldMk cId="3715444027" sldId="257"/>
            <ac:spMk id="3" creationId="{00000000-0000-0000-0000-000000000000}"/>
          </ac:spMkLst>
        </pc:spChg>
        <pc:spChg chg="add">
          <ac:chgData name="CAUSSIDOU, Fabienne" userId="d3b93ce2-b4f2-4ea8-90dc-56594dbc3f3f" providerId="ADAL" clId="{299911BD-9083-418C-BF2F-6352EC602B55}" dt="2021-06-22T13:45:21.796" v="59"/>
          <ac:spMkLst>
            <pc:docMk/>
            <pc:sldMk cId="3715444027" sldId="257"/>
            <ac:spMk id="5" creationId="{BC9B5910-98E2-42B6-BCF3-35B58CCDA200}"/>
          </ac:spMkLst>
        </pc:spChg>
        <pc:spChg chg="add del mod">
          <ac:chgData name="CAUSSIDOU, Fabienne" userId="d3b93ce2-b4f2-4ea8-90dc-56594dbc3f3f" providerId="ADAL" clId="{299911BD-9083-418C-BF2F-6352EC602B55}" dt="2021-06-22T15:01:41.666" v="1280"/>
          <ac:spMkLst>
            <pc:docMk/>
            <pc:sldMk cId="3715444027" sldId="257"/>
            <ac:spMk id="7" creationId="{65568F1D-4206-4122-B597-1128EBE3DE82}"/>
          </ac:spMkLst>
        </pc:spChg>
        <pc:spChg chg="add mod">
          <ac:chgData name="CAUSSIDOU, Fabienne" userId="d3b93ce2-b4f2-4ea8-90dc-56594dbc3f3f" providerId="ADAL" clId="{299911BD-9083-418C-BF2F-6352EC602B55}" dt="2021-06-22T15:01:41.666" v="1280"/>
          <ac:spMkLst>
            <pc:docMk/>
            <pc:sldMk cId="3715444027" sldId="257"/>
            <ac:spMk id="8" creationId="{B0E43ED3-54F2-48BA-B49A-049F283D85B0}"/>
          </ac:spMkLst>
        </pc:spChg>
      </pc:sldChg>
      <pc:sldChg chg="del">
        <pc:chgData name="CAUSSIDOU, Fabienne" userId="d3b93ce2-b4f2-4ea8-90dc-56594dbc3f3f" providerId="ADAL" clId="{299911BD-9083-418C-BF2F-6352EC602B55}" dt="2021-06-22T14:00:25.871" v="230" actId="2696"/>
        <pc:sldMkLst>
          <pc:docMk/>
          <pc:sldMk cId="1707861662" sldId="431"/>
        </pc:sldMkLst>
      </pc:sldChg>
      <pc:sldChg chg="del">
        <pc:chgData name="CAUSSIDOU, Fabienne" userId="d3b93ce2-b4f2-4ea8-90dc-56594dbc3f3f" providerId="ADAL" clId="{299911BD-9083-418C-BF2F-6352EC602B55}" dt="2021-06-22T14:00:26.951" v="231" actId="2696"/>
        <pc:sldMkLst>
          <pc:docMk/>
          <pc:sldMk cId="1448641623" sldId="435"/>
        </pc:sldMkLst>
      </pc:sldChg>
      <pc:sldChg chg="addSp delSp modSp">
        <pc:chgData name="CAUSSIDOU, Fabienne" userId="d3b93ce2-b4f2-4ea8-90dc-56594dbc3f3f" providerId="ADAL" clId="{299911BD-9083-418C-BF2F-6352EC602B55}" dt="2021-07-06T15:54:46.155" v="7225" actId="108"/>
        <pc:sldMkLst>
          <pc:docMk/>
          <pc:sldMk cId="3437776661" sldId="436"/>
        </pc:sldMkLst>
        <pc:spChg chg="mod">
          <ac:chgData name="CAUSSIDOU, Fabienne" userId="d3b93ce2-b4f2-4ea8-90dc-56594dbc3f3f" providerId="ADAL" clId="{299911BD-9083-418C-BF2F-6352EC602B55}" dt="2021-06-22T14:54:36.376" v="1217" actId="207"/>
          <ac:spMkLst>
            <pc:docMk/>
            <pc:sldMk cId="3437776661" sldId="436"/>
            <ac:spMk id="2" creationId="{00000000-0000-0000-0000-000000000000}"/>
          </ac:spMkLst>
        </pc:spChg>
        <pc:spChg chg="add del mod">
          <ac:chgData name="CAUSSIDOU, Fabienne" userId="d3b93ce2-b4f2-4ea8-90dc-56594dbc3f3f" providerId="ADAL" clId="{299911BD-9083-418C-BF2F-6352EC602B55}" dt="2021-06-22T14:54:32.863" v="1216" actId="478"/>
          <ac:spMkLst>
            <pc:docMk/>
            <pc:sldMk cId="3437776661" sldId="436"/>
            <ac:spMk id="3" creationId="{9719F94C-5D74-4A41-A030-1A4A6265BC1A}"/>
          </ac:spMkLst>
        </pc:spChg>
        <pc:spChg chg="del">
          <ac:chgData name="CAUSSIDOU, Fabienne" userId="d3b93ce2-b4f2-4ea8-90dc-56594dbc3f3f" providerId="ADAL" clId="{299911BD-9083-418C-BF2F-6352EC602B55}" dt="2021-06-22T14:15:38.809" v="715" actId="478"/>
          <ac:spMkLst>
            <pc:docMk/>
            <pc:sldMk cId="3437776661" sldId="436"/>
            <ac:spMk id="4" creationId="{00000000-0000-0000-0000-000000000000}"/>
          </ac:spMkLst>
        </pc:spChg>
        <pc:spChg chg="del mod">
          <ac:chgData name="CAUSSIDOU, Fabienne" userId="d3b93ce2-b4f2-4ea8-90dc-56594dbc3f3f" providerId="ADAL" clId="{299911BD-9083-418C-BF2F-6352EC602B55}" dt="2021-06-22T14:08:18.940" v="436" actId="478"/>
          <ac:spMkLst>
            <pc:docMk/>
            <pc:sldMk cId="3437776661" sldId="436"/>
            <ac:spMk id="8" creationId="{AE406783-C054-4AA2-8B6E-EF36C59B0D9F}"/>
          </ac:spMkLst>
        </pc:spChg>
        <pc:spChg chg="mod">
          <ac:chgData name="CAUSSIDOU, Fabienne" userId="d3b93ce2-b4f2-4ea8-90dc-56594dbc3f3f" providerId="ADAL" clId="{299911BD-9083-418C-BF2F-6352EC602B55}" dt="2021-06-22T14:09:39.096" v="446" actId="1582"/>
          <ac:spMkLst>
            <pc:docMk/>
            <pc:sldMk cId="3437776661" sldId="436"/>
            <ac:spMk id="9" creationId="{B1605E95-43BC-4210-A7F0-1D503AED34BC}"/>
          </ac:spMkLst>
        </pc:spChg>
        <pc:spChg chg="mod">
          <ac:chgData name="CAUSSIDOU, Fabienne" userId="d3b93ce2-b4f2-4ea8-90dc-56594dbc3f3f" providerId="ADAL" clId="{299911BD-9083-418C-BF2F-6352EC602B55}" dt="2021-06-22T14:09:46.865" v="447" actId="1582"/>
          <ac:spMkLst>
            <pc:docMk/>
            <pc:sldMk cId="3437776661" sldId="436"/>
            <ac:spMk id="10" creationId="{0ED40CA9-D255-4C65-A8F4-F32D1EE2A3EE}"/>
          </ac:spMkLst>
        </pc:spChg>
        <pc:spChg chg="mod">
          <ac:chgData name="CAUSSIDOU, Fabienne" userId="d3b93ce2-b4f2-4ea8-90dc-56594dbc3f3f" providerId="ADAL" clId="{299911BD-9083-418C-BF2F-6352EC602B55}" dt="2021-06-22T14:09:46.865" v="447" actId="1582"/>
          <ac:spMkLst>
            <pc:docMk/>
            <pc:sldMk cId="3437776661" sldId="436"/>
            <ac:spMk id="13" creationId="{25704E86-108E-4482-93EC-D85CEEA2914C}"/>
          </ac:spMkLst>
        </pc:spChg>
        <pc:spChg chg="mod">
          <ac:chgData name="CAUSSIDOU, Fabienne" userId="d3b93ce2-b4f2-4ea8-90dc-56594dbc3f3f" providerId="ADAL" clId="{299911BD-9083-418C-BF2F-6352EC602B55}" dt="2021-06-22T14:09:39.096" v="446" actId="1582"/>
          <ac:spMkLst>
            <pc:docMk/>
            <pc:sldMk cId="3437776661" sldId="436"/>
            <ac:spMk id="14" creationId="{17DCC108-6475-4DCD-B518-1C5BC6484C8D}"/>
          </ac:spMkLst>
        </pc:spChg>
        <pc:spChg chg="mod">
          <ac:chgData name="CAUSSIDOU, Fabienne" userId="d3b93ce2-b4f2-4ea8-90dc-56594dbc3f3f" providerId="ADAL" clId="{299911BD-9083-418C-BF2F-6352EC602B55}" dt="2021-06-22T14:54:55.744" v="1219" actId="403"/>
          <ac:spMkLst>
            <pc:docMk/>
            <pc:sldMk cId="3437776661" sldId="436"/>
            <ac:spMk id="15" creationId="{CE0C6DDB-D9DE-48BD-9921-7924617BECF4}"/>
          </ac:spMkLst>
        </pc:spChg>
        <pc:spChg chg="mod">
          <ac:chgData name="CAUSSIDOU, Fabienne" userId="d3b93ce2-b4f2-4ea8-90dc-56594dbc3f3f" providerId="ADAL" clId="{299911BD-9083-418C-BF2F-6352EC602B55}" dt="2021-06-22T14:54:28.879" v="1215" actId="14100"/>
          <ac:spMkLst>
            <pc:docMk/>
            <pc:sldMk cId="3437776661" sldId="436"/>
            <ac:spMk id="16" creationId="{3423C1C0-A34B-4290-94B6-7685C7258FC8}"/>
          </ac:spMkLst>
        </pc:spChg>
        <pc:spChg chg="mod">
          <ac:chgData name="CAUSSIDOU, Fabienne" userId="d3b93ce2-b4f2-4ea8-90dc-56594dbc3f3f" providerId="ADAL" clId="{299911BD-9083-418C-BF2F-6352EC602B55}" dt="2021-06-30T15:31:38.644" v="4386" actId="1038"/>
          <ac:spMkLst>
            <pc:docMk/>
            <pc:sldMk cId="3437776661" sldId="436"/>
            <ac:spMk id="17" creationId="{85D51FA4-9E64-4859-9717-D7799C5BC5F2}"/>
          </ac:spMkLst>
        </pc:spChg>
        <pc:spChg chg="del mod">
          <ac:chgData name="CAUSSIDOU, Fabienne" userId="d3b93ce2-b4f2-4ea8-90dc-56594dbc3f3f" providerId="ADAL" clId="{299911BD-9083-418C-BF2F-6352EC602B55}" dt="2021-06-22T14:10:28.669" v="453" actId="478"/>
          <ac:spMkLst>
            <pc:docMk/>
            <pc:sldMk cId="3437776661" sldId="436"/>
            <ac:spMk id="18" creationId="{D5285686-1FE4-4FAC-A50A-B6DF5B37D770}"/>
          </ac:spMkLst>
        </pc:spChg>
        <pc:spChg chg="mod ord">
          <ac:chgData name="CAUSSIDOU, Fabienne" userId="d3b93ce2-b4f2-4ea8-90dc-56594dbc3f3f" providerId="ADAL" clId="{299911BD-9083-418C-BF2F-6352EC602B55}" dt="2021-07-01T09:23:24.108" v="7047" actId="1035"/>
          <ac:spMkLst>
            <pc:docMk/>
            <pc:sldMk cId="3437776661" sldId="436"/>
            <ac:spMk id="19" creationId="{44C5E536-FB7D-488C-A0EA-3074A527B96C}"/>
          </ac:spMkLst>
        </pc:spChg>
        <pc:spChg chg="mod">
          <ac:chgData name="CAUSSIDOU, Fabienne" userId="d3b93ce2-b4f2-4ea8-90dc-56594dbc3f3f" providerId="ADAL" clId="{299911BD-9083-418C-BF2F-6352EC602B55}" dt="2021-07-01T09:24:10.070" v="7076" actId="1076"/>
          <ac:spMkLst>
            <pc:docMk/>
            <pc:sldMk cId="3437776661" sldId="436"/>
            <ac:spMk id="20" creationId="{B9ADCDC3-B22B-4F25-8BB8-4831CD32C7DC}"/>
          </ac:spMkLst>
        </pc:spChg>
        <pc:spChg chg="mod">
          <ac:chgData name="CAUSSIDOU, Fabienne" userId="d3b93ce2-b4f2-4ea8-90dc-56594dbc3f3f" providerId="ADAL" clId="{299911BD-9083-418C-BF2F-6352EC602B55}" dt="2021-07-01T09:23:59.903" v="7072" actId="1076"/>
          <ac:spMkLst>
            <pc:docMk/>
            <pc:sldMk cId="3437776661" sldId="436"/>
            <ac:spMk id="21" creationId="{966E99E4-FE9C-48B9-9A49-D64F71693B80}"/>
          </ac:spMkLst>
        </pc:spChg>
        <pc:spChg chg="mod">
          <ac:chgData name="CAUSSIDOU, Fabienne" userId="d3b93ce2-b4f2-4ea8-90dc-56594dbc3f3f" providerId="ADAL" clId="{299911BD-9083-418C-BF2F-6352EC602B55}" dt="2021-07-01T09:24:23.698" v="7081" actId="1076"/>
          <ac:spMkLst>
            <pc:docMk/>
            <pc:sldMk cId="3437776661" sldId="436"/>
            <ac:spMk id="22" creationId="{55494C3C-CBBE-4431-BDC9-F70168391F92}"/>
          </ac:spMkLst>
        </pc:spChg>
        <pc:spChg chg="mod">
          <ac:chgData name="CAUSSIDOU, Fabienne" userId="d3b93ce2-b4f2-4ea8-90dc-56594dbc3f3f" providerId="ADAL" clId="{299911BD-9083-418C-BF2F-6352EC602B55}" dt="2021-07-01T09:24:17.700" v="7079" actId="1076"/>
          <ac:spMkLst>
            <pc:docMk/>
            <pc:sldMk cId="3437776661" sldId="436"/>
            <ac:spMk id="23" creationId="{7D2F25F4-78FA-4F4C-9857-829BF6C52A5B}"/>
          </ac:spMkLst>
        </pc:spChg>
        <pc:spChg chg="mod">
          <ac:chgData name="CAUSSIDOU, Fabienne" userId="d3b93ce2-b4f2-4ea8-90dc-56594dbc3f3f" providerId="ADAL" clId="{299911BD-9083-418C-BF2F-6352EC602B55}" dt="2021-07-01T09:24:02.872" v="7073" actId="1076"/>
          <ac:spMkLst>
            <pc:docMk/>
            <pc:sldMk cId="3437776661" sldId="436"/>
            <ac:spMk id="24" creationId="{2FF18EA8-232F-4DD6-9282-1DA90E71A33A}"/>
          </ac:spMkLst>
        </pc:spChg>
        <pc:spChg chg="del mod">
          <ac:chgData name="CAUSSIDOU, Fabienne" userId="d3b93ce2-b4f2-4ea8-90dc-56594dbc3f3f" providerId="ADAL" clId="{299911BD-9083-418C-BF2F-6352EC602B55}" dt="2021-07-01T09:22:52.141" v="6990" actId="478"/>
          <ac:spMkLst>
            <pc:docMk/>
            <pc:sldMk cId="3437776661" sldId="436"/>
            <ac:spMk id="25" creationId="{1DD3A2D5-2110-4CB4-A835-EE42A12ED5A0}"/>
          </ac:spMkLst>
        </pc:spChg>
        <pc:spChg chg="del mod">
          <ac:chgData name="CAUSSIDOU, Fabienne" userId="d3b93ce2-b4f2-4ea8-90dc-56594dbc3f3f" providerId="ADAL" clId="{299911BD-9083-418C-BF2F-6352EC602B55}" dt="2021-07-01T09:22:54.567" v="6991" actId="478"/>
          <ac:spMkLst>
            <pc:docMk/>
            <pc:sldMk cId="3437776661" sldId="436"/>
            <ac:spMk id="26" creationId="{9EBC7E20-EFBB-40AF-A180-8CFAF3634417}"/>
          </ac:spMkLst>
        </pc:spChg>
        <pc:spChg chg="del mod">
          <ac:chgData name="CAUSSIDOU, Fabienne" userId="d3b93ce2-b4f2-4ea8-90dc-56594dbc3f3f" providerId="ADAL" clId="{299911BD-9083-418C-BF2F-6352EC602B55}" dt="2021-07-01T09:22:56.944" v="6992" actId="478"/>
          <ac:spMkLst>
            <pc:docMk/>
            <pc:sldMk cId="3437776661" sldId="436"/>
            <ac:spMk id="27" creationId="{B3FCD431-595F-46D3-9757-800373C2682D}"/>
          </ac:spMkLst>
        </pc:spChg>
        <pc:spChg chg="del">
          <ac:chgData name="CAUSSIDOU, Fabienne" userId="d3b93ce2-b4f2-4ea8-90dc-56594dbc3f3f" providerId="ADAL" clId="{299911BD-9083-418C-BF2F-6352EC602B55}" dt="2021-06-22T14:08:50.194" v="439" actId="478"/>
          <ac:spMkLst>
            <pc:docMk/>
            <pc:sldMk cId="3437776661" sldId="436"/>
            <ac:spMk id="28" creationId="{108BDF09-39A6-4567-8143-0C09D11DD727}"/>
          </ac:spMkLst>
        </pc:spChg>
        <pc:spChg chg="mod">
          <ac:chgData name="CAUSSIDOU, Fabienne" userId="d3b93ce2-b4f2-4ea8-90dc-56594dbc3f3f" providerId="ADAL" clId="{299911BD-9083-418C-BF2F-6352EC602B55}" dt="2021-07-01T09:24:32.379" v="7082" actId="1076"/>
          <ac:spMkLst>
            <pc:docMk/>
            <pc:sldMk cId="3437776661" sldId="436"/>
            <ac:spMk id="29" creationId="{B7E26B5D-6126-46EB-BE42-FA3F815C52C7}"/>
          </ac:spMkLst>
        </pc:spChg>
        <pc:spChg chg="add mod ord">
          <ac:chgData name="CAUSSIDOU, Fabienne" userId="d3b93ce2-b4f2-4ea8-90dc-56594dbc3f3f" providerId="ADAL" clId="{299911BD-9083-418C-BF2F-6352EC602B55}" dt="2021-07-01T09:23:53.519" v="7071" actId="1076"/>
          <ac:spMkLst>
            <pc:docMk/>
            <pc:sldMk cId="3437776661" sldId="436"/>
            <ac:spMk id="34" creationId="{BE90B4B6-943B-4502-8D7B-01B20E1313F7}"/>
          </ac:spMkLst>
        </pc:spChg>
        <pc:spChg chg="add mod">
          <ac:chgData name="CAUSSIDOU, Fabienne" userId="d3b93ce2-b4f2-4ea8-90dc-56594dbc3f3f" providerId="ADAL" clId="{299911BD-9083-418C-BF2F-6352EC602B55}" dt="2021-07-01T09:23:24.108" v="7047" actId="1035"/>
          <ac:spMkLst>
            <pc:docMk/>
            <pc:sldMk cId="3437776661" sldId="436"/>
            <ac:spMk id="35" creationId="{7AD75118-7941-4B9F-ADB6-EE490A292789}"/>
          </ac:spMkLst>
        </pc:spChg>
        <pc:spChg chg="add mod">
          <ac:chgData name="CAUSSIDOU, Fabienne" userId="d3b93ce2-b4f2-4ea8-90dc-56594dbc3f3f" providerId="ADAL" clId="{299911BD-9083-418C-BF2F-6352EC602B55}" dt="2021-07-01T09:24:21.531" v="7080" actId="1076"/>
          <ac:spMkLst>
            <pc:docMk/>
            <pc:sldMk cId="3437776661" sldId="436"/>
            <ac:spMk id="36" creationId="{E1A3B000-154E-44C2-BC88-A21CB896292F}"/>
          </ac:spMkLst>
        </pc:spChg>
        <pc:spChg chg="add mod">
          <ac:chgData name="CAUSSIDOU, Fabienne" userId="d3b93ce2-b4f2-4ea8-90dc-56594dbc3f3f" providerId="ADAL" clId="{299911BD-9083-418C-BF2F-6352EC602B55}" dt="2021-07-01T09:24:12.175" v="7077" actId="1076"/>
          <ac:spMkLst>
            <pc:docMk/>
            <pc:sldMk cId="3437776661" sldId="436"/>
            <ac:spMk id="37" creationId="{50BFF1D5-2555-4161-9868-4E5C9D419EB9}"/>
          </ac:spMkLst>
        </pc:spChg>
        <pc:spChg chg="add del mod">
          <ac:chgData name="CAUSSIDOU, Fabienne" userId="d3b93ce2-b4f2-4ea8-90dc-56594dbc3f3f" providerId="ADAL" clId="{299911BD-9083-418C-BF2F-6352EC602B55}" dt="2021-07-01T09:24:15.180" v="7078" actId="1076"/>
          <ac:spMkLst>
            <pc:docMk/>
            <pc:sldMk cId="3437776661" sldId="436"/>
            <ac:spMk id="38" creationId="{C80BE0A1-FE41-45C4-9C06-3E37C4B11B74}"/>
          </ac:spMkLst>
        </pc:spChg>
        <pc:spChg chg="add del mod">
          <ac:chgData name="CAUSSIDOU, Fabienne" userId="d3b93ce2-b4f2-4ea8-90dc-56594dbc3f3f" providerId="ADAL" clId="{299911BD-9083-418C-BF2F-6352EC602B55}" dt="2021-07-06T15:54:04.127" v="7215" actId="478"/>
          <ac:spMkLst>
            <pc:docMk/>
            <pc:sldMk cId="3437776661" sldId="436"/>
            <ac:spMk id="39" creationId="{4EB4678D-A85C-4769-99EE-8A04EACC0899}"/>
          </ac:spMkLst>
        </pc:spChg>
        <pc:spChg chg="add mod">
          <ac:chgData name="CAUSSIDOU, Fabienne" userId="d3b93ce2-b4f2-4ea8-90dc-56594dbc3f3f" providerId="ADAL" clId="{299911BD-9083-418C-BF2F-6352EC602B55}" dt="2021-06-30T15:31:38.644" v="4386" actId="1038"/>
          <ac:spMkLst>
            <pc:docMk/>
            <pc:sldMk cId="3437776661" sldId="436"/>
            <ac:spMk id="43" creationId="{58E81E10-CB89-4F17-949D-7B19562122B2}"/>
          </ac:spMkLst>
        </pc:spChg>
        <pc:spChg chg="add mod">
          <ac:chgData name="CAUSSIDOU, Fabienne" userId="d3b93ce2-b4f2-4ea8-90dc-56594dbc3f3f" providerId="ADAL" clId="{299911BD-9083-418C-BF2F-6352EC602B55}" dt="2021-06-30T15:31:38.644" v="4386" actId="1038"/>
          <ac:spMkLst>
            <pc:docMk/>
            <pc:sldMk cId="3437776661" sldId="436"/>
            <ac:spMk id="44" creationId="{DD9DC1EB-A146-46B3-AB55-E5150C7278D6}"/>
          </ac:spMkLst>
        </pc:spChg>
        <pc:spChg chg="add mod">
          <ac:chgData name="CAUSSIDOU, Fabienne" userId="d3b93ce2-b4f2-4ea8-90dc-56594dbc3f3f" providerId="ADAL" clId="{299911BD-9083-418C-BF2F-6352EC602B55}" dt="2021-07-01T09:22:32.082" v="6988" actId="14100"/>
          <ac:spMkLst>
            <pc:docMk/>
            <pc:sldMk cId="3437776661" sldId="436"/>
            <ac:spMk id="45" creationId="{010367A8-A26B-4B71-8F15-51C450220987}"/>
          </ac:spMkLst>
        </pc:spChg>
        <pc:spChg chg="add mod">
          <ac:chgData name="CAUSSIDOU, Fabienne" userId="d3b93ce2-b4f2-4ea8-90dc-56594dbc3f3f" providerId="ADAL" clId="{299911BD-9083-418C-BF2F-6352EC602B55}" dt="2021-07-06T15:54:46.155" v="7225" actId="108"/>
          <ac:spMkLst>
            <pc:docMk/>
            <pc:sldMk cId="3437776661" sldId="436"/>
            <ac:spMk id="46" creationId="{ED136593-C16D-45F5-9056-8D155452AFF8}"/>
          </ac:spMkLst>
        </pc:spChg>
        <pc:grpChg chg="del mod">
          <ac:chgData name="CAUSSIDOU, Fabienne" userId="d3b93ce2-b4f2-4ea8-90dc-56594dbc3f3f" providerId="ADAL" clId="{299911BD-9083-418C-BF2F-6352EC602B55}" dt="2021-06-22T14:10:06.844" v="451" actId="478"/>
          <ac:grpSpMkLst>
            <pc:docMk/>
            <pc:sldMk cId="3437776661" sldId="436"/>
            <ac:grpSpMk id="30" creationId="{F440CDD6-DDC9-435C-AAB6-42492F2849C0}"/>
          </ac:grpSpMkLst>
        </pc:grpChg>
        <pc:grpChg chg="mod">
          <ac:chgData name="CAUSSIDOU, Fabienne" userId="d3b93ce2-b4f2-4ea8-90dc-56594dbc3f3f" providerId="ADAL" clId="{299911BD-9083-418C-BF2F-6352EC602B55}" dt="2021-06-30T15:31:38.644" v="4386" actId="1038"/>
          <ac:grpSpMkLst>
            <pc:docMk/>
            <pc:sldMk cId="3437776661" sldId="436"/>
            <ac:grpSpMk id="31" creationId="{F770248B-B040-450B-A0B8-DC1BC92E05AD}"/>
          </ac:grpSpMkLst>
        </pc:grpChg>
        <pc:grpChg chg="del mod">
          <ac:chgData name="CAUSSIDOU, Fabienne" userId="d3b93ce2-b4f2-4ea8-90dc-56594dbc3f3f" providerId="ADAL" clId="{299911BD-9083-418C-BF2F-6352EC602B55}" dt="2021-06-22T14:10:05.950" v="450" actId="478"/>
          <ac:grpSpMkLst>
            <pc:docMk/>
            <pc:sldMk cId="3437776661" sldId="436"/>
            <ac:grpSpMk id="32" creationId="{A4B403D8-DB8F-4257-9BBB-C2F01B89353F}"/>
          </ac:grpSpMkLst>
        </pc:grpChg>
        <pc:grpChg chg="mod">
          <ac:chgData name="CAUSSIDOU, Fabienne" userId="d3b93ce2-b4f2-4ea8-90dc-56594dbc3f3f" providerId="ADAL" clId="{299911BD-9083-418C-BF2F-6352EC602B55}" dt="2021-07-01T09:23:02.610" v="6993" actId="14100"/>
          <ac:grpSpMkLst>
            <pc:docMk/>
            <pc:sldMk cId="3437776661" sldId="436"/>
            <ac:grpSpMk id="33" creationId="{78E9B7DE-C96D-4ADF-8384-EFE3A3860E9A}"/>
          </ac:grpSpMkLst>
        </pc:grpChg>
        <pc:grpChg chg="add mod ord">
          <ac:chgData name="CAUSSIDOU, Fabienne" userId="d3b93ce2-b4f2-4ea8-90dc-56594dbc3f3f" providerId="ADAL" clId="{299911BD-9083-418C-BF2F-6352EC602B55}" dt="2021-06-30T15:31:38.644" v="4386" actId="1038"/>
          <ac:grpSpMkLst>
            <pc:docMk/>
            <pc:sldMk cId="3437776661" sldId="436"/>
            <ac:grpSpMk id="40" creationId="{3EA4B450-555D-4B60-AD77-3A4E1A3839AC}"/>
          </ac:grpSpMkLst>
        </pc:grpChg>
      </pc:sldChg>
      <pc:sldChg chg="addSp delSp modSp add ord">
        <pc:chgData name="CAUSSIDOU, Fabienne" userId="d3b93ce2-b4f2-4ea8-90dc-56594dbc3f3f" providerId="ADAL" clId="{299911BD-9083-418C-BF2F-6352EC602B55}" dt="2021-07-06T16:11:47.289" v="7698" actId="20577"/>
        <pc:sldMkLst>
          <pc:docMk/>
          <pc:sldMk cId="2842223102" sldId="437"/>
        </pc:sldMkLst>
        <pc:spChg chg="add mod">
          <ac:chgData name="CAUSSIDOU, Fabienne" userId="d3b93ce2-b4f2-4ea8-90dc-56594dbc3f3f" providerId="ADAL" clId="{299911BD-9083-418C-BF2F-6352EC602B55}" dt="2021-06-30T12:20:40.148" v="3878" actId="12"/>
          <ac:spMkLst>
            <pc:docMk/>
            <pc:sldMk cId="2842223102" sldId="437"/>
            <ac:spMk id="2" creationId="{A6CAB8AE-0DBD-4FC2-B0B9-D9E380828061}"/>
          </ac:spMkLst>
        </pc:spChg>
        <pc:spChg chg="mod">
          <ac:chgData name="CAUSSIDOU, Fabienne" userId="d3b93ce2-b4f2-4ea8-90dc-56594dbc3f3f" providerId="ADAL" clId="{299911BD-9083-418C-BF2F-6352EC602B55}" dt="2021-06-30T15:33:23.100" v="4390" actId="207"/>
          <ac:spMkLst>
            <pc:docMk/>
            <pc:sldMk cId="2842223102" sldId="437"/>
            <ac:spMk id="3" creationId="{00000000-0000-0000-0000-000000000000}"/>
          </ac:spMkLst>
        </pc:spChg>
        <pc:graphicFrameChg chg="add del mod modGraphic">
          <ac:chgData name="CAUSSIDOU, Fabienne" userId="d3b93ce2-b4f2-4ea8-90dc-56594dbc3f3f" providerId="ADAL" clId="{299911BD-9083-418C-BF2F-6352EC602B55}" dt="2021-07-06T16:11:47.289" v="7698" actId="20577"/>
          <ac:graphicFrameMkLst>
            <pc:docMk/>
            <pc:sldMk cId="2842223102" sldId="437"/>
            <ac:graphicFrameMk id="13" creationId="{AC7F8560-B776-4244-AF78-9DF80A10A3EE}"/>
          </ac:graphicFrameMkLst>
        </pc:graphicFrameChg>
      </pc:sldChg>
      <pc:sldChg chg="add del">
        <pc:chgData name="CAUSSIDOU, Fabienne" userId="d3b93ce2-b4f2-4ea8-90dc-56594dbc3f3f" providerId="ADAL" clId="{299911BD-9083-418C-BF2F-6352EC602B55}" dt="2021-06-30T16:59:10.202" v="5874" actId="2696"/>
        <pc:sldMkLst>
          <pc:docMk/>
          <pc:sldMk cId="2668324320" sldId="453"/>
        </pc:sldMkLst>
      </pc:sldChg>
      <pc:sldChg chg="del">
        <pc:chgData name="CAUSSIDOU, Fabienne" userId="d3b93ce2-b4f2-4ea8-90dc-56594dbc3f3f" providerId="ADAL" clId="{299911BD-9083-418C-BF2F-6352EC602B55}" dt="2021-06-22T14:00:28.535" v="232" actId="2696"/>
        <pc:sldMkLst>
          <pc:docMk/>
          <pc:sldMk cId="206024111" sldId="454"/>
        </pc:sldMkLst>
      </pc:sldChg>
      <pc:sldChg chg="addSp del">
        <pc:chgData name="CAUSSIDOU, Fabienne" userId="d3b93ce2-b4f2-4ea8-90dc-56594dbc3f3f" providerId="ADAL" clId="{299911BD-9083-418C-BF2F-6352EC602B55}" dt="2021-06-24T14:58:44.878" v="2092" actId="2696"/>
        <pc:sldMkLst>
          <pc:docMk/>
          <pc:sldMk cId="553215656" sldId="455"/>
        </pc:sldMkLst>
        <pc:spChg chg="add">
          <ac:chgData name="CAUSSIDOU, Fabienne" userId="d3b93ce2-b4f2-4ea8-90dc-56594dbc3f3f" providerId="ADAL" clId="{299911BD-9083-418C-BF2F-6352EC602B55}" dt="2021-06-22T13:45:31.766" v="60"/>
          <ac:spMkLst>
            <pc:docMk/>
            <pc:sldMk cId="553215656" sldId="455"/>
            <ac:spMk id="8" creationId="{C698C4D1-6EBC-425A-B91F-087168FDFCCC}"/>
          </ac:spMkLst>
        </pc:spChg>
      </pc:sldChg>
      <pc:sldChg chg="modSp add">
        <pc:chgData name="CAUSSIDOU, Fabienne" userId="d3b93ce2-b4f2-4ea8-90dc-56594dbc3f3f" providerId="ADAL" clId="{299911BD-9083-418C-BF2F-6352EC602B55}" dt="2021-07-06T16:03:41.856" v="7586" actId="313"/>
        <pc:sldMkLst>
          <pc:docMk/>
          <pc:sldMk cId="3312837519" sldId="10556"/>
        </pc:sldMkLst>
        <pc:spChg chg="mod">
          <ac:chgData name="CAUSSIDOU, Fabienne" userId="d3b93ce2-b4f2-4ea8-90dc-56594dbc3f3f" providerId="ADAL" clId="{299911BD-9083-418C-BF2F-6352EC602B55}" dt="2021-06-22T13:52:38.906" v="78" actId="207"/>
          <ac:spMkLst>
            <pc:docMk/>
            <pc:sldMk cId="3312837519" sldId="10556"/>
            <ac:spMk id="2" creationId="{2E7C573B-750B-4FD4-B8CE-AB955A21BB24}"/>
          </ac:spMkLst>
        </pc:spChg>
        <pc:spChg chg="mod">
          <ac:chgData name="CAUSSIDOU, Fabienne" userId="d3b93ce2-b4f2-4ea8-90dc-56594dbc3f3f" providerId="ADAL" clId="{299911BD-9083-418C-BF2F-6352EC602B55}" dt="2021-07-06T16:03:41.856" v="7586" actId="313"/>
          <ac:spMkLst>
            <pc:docMk/>
            <pc:sldMk cId="3312837519" sldId="10556"/>
            <ac:spMk id="5" creationId="{2D24385A-A44C-49AA-B52B-EC74C2C0C4B8}"/>
          </ac:spMkLst>
        </pc:spChg>
      </pc:sldChg>
      <pc:sldChg chg="addSp delSp modSp add">
        <pc:chgData name="CAUSSIDOU, Fabienne" userId="d3b93ce2-b4f2-4ea8-90dc-56594dbc3f3f" providerId="ADAL" clId="{299911BD-9083-418C-BF2F-6352EC602B55}" dt="2021-06-30T15:27:47.461" v="4346" actId="1076"/>
        <pc:sldMkLst>
          <pc:docMk/>
          <pc:sldMk cId="4189311133" sldId="10565"/>
        </pc:sldMkLst>
        <pc:spChg chg="mod">
          <ac:chgData name="CAUSSIDOU, Fabienne" userId="d3b93ce2-b4f2-4ea8-90dc-56594dbc3f3f" providerId="ADAL" clId="{299911BD-9083-418C-BF2F-6352EC602B55}" dt="2021-06-22T13:53:17.453" v="86" actId="207"/>
          <ac:spMkLst>
            <pc:docMk/>
            <pc:sldMk cId="4189311133" sldId="10565"/>
            <ac:spMk id="2" creationId="{33CC9201-C44A-4833-94C0-DD7C22D21533}"/>
          </ac:spMkLst>
        </pc:spChg>
        <pc:spChg chg="add mod">
          <ac:chgData name="CAUSSIDOU, Fabienne" userId="d3b93ce2-b4f2-4ea8-90dc-56594dbc3f3f" providerId="ADAL" clId="{299911BD-9083-418C-BF2F-6352EC602B55}" dt="2021-06-30T15:23:39.302" v="4283" actId="1076"/>
          <ac:spMkLst>
            <pc:docMk/>
            <pc:sldMk cId="4189311133" sldId="10565"/>
            <ac:spMk id="7" creationId="{F9C472FC-72CB-496B-86BB-008D3DD07469}"/>
          </ac:spMkLst>
        </pc:spChg>
        <pc:spChg chg="del mod">
          <ac:chgData name="CAUSSIDOU, Fabienne" userId="d3b93ce2-b4f2-4ea8-90dc-56594dbc3f3f" providerId="ADAL" clId="{299911BD-9083-418C-BF2F-6352EC602B55}" dt="2021-06-22T13:55:48.903" v="115" actId="478"/>
          <ac:spMkLst>
            <pc:docMk/>
            <pc:sldMk cId="4189311133" sldId="10565"/>
            <ac:spMk id="8" creationId="{1DEF2EE1-E813-4D8C-9D6B-BA57CC4F44DB}"/>
          </ac:spMkLst>
        </pc:spChg>
        <pc:spChg chg="mod">
          <ac:chgData name="CAUSSIDOU, Fabienne" userId="d3b93ce2-b4f2-4ea8-90dc-56594dbc3f3f" providerId="ADAL" clId="{299911BD-9083-418C-BF2F-6352EC602B55}" dt="2021-06-30T15:27:47.461" v="4346" actId="1076"/>
          <ac:spMkLst>
            <pc:docMk/>
            <pc:sldMk cId="4189311133" sldId="10565"/>
            <ac:spMk id="12" creationId="{642FE655-904D-48C0-B9C2-F59201CDA042}"/>
          </ac:spMkLst>
        </pc:spChg>
        <pc:graphicFrameChg chg="mod">
          <ac:chgData name="CAUSSIDOU, Fabienne" userId="d3b93ce2-b4f2-4ea8-90dc-56594dbc3f3f" providerId="ADAL" clId="{299911BD-9083-418C-BF2F-6352EC602B55}" dt="2021-06-22T13:53:21.459" v="88" actId="1076"/>
          <ac:graphicFrameMkLst>
            <pc:docMk/>
            <pc:sldMk cId="4189311133" sldId="10565"/>
            <ac:graphicFrameMk id="5" creationId="{09EE6598-D7AA-445A-99C6-2B593F13020F}"/>
          </ac:graphicFrameMkLst>
        </pc:graphicFrameChg>
        <pc:graphicFrameChg chg="add del">
          <ac:chgData name="CAUSSIDOU, Fabienne" userId="d3b93ce2-b4f2-4ea8-90dc-56594dbc3f3f" providerId="ADAL" clId="{299911BD-9083-418C-BF2F-6352EC602B55}" dt="2021-06-22T13:53:12.419" v="84" actId="478"/>
          <ac:graphicFrameMkLst>
            <pc:docMk/>
            <pc:sldMk cId="4189311133" sldId="10565"/>
            <ac:graphicFrameMk id="15" creationId="{3762F5E3-F12F-4BF2-BCDC-69428E55B18A}"/>
          </ac:graphicFrameMkLst>
        </pc:graphicFrameChg>
        <pc:picChg chg="add del mod">
          <ac:chgData name="CAUSSIDOU, Fabienne" userId="d3b93ce2-b4f2-4ea8-90dc-56594dbc3f3f" providerId="ADAL" clId="{299911BD-9083-418C-BF2F-6352EC602B55}" dt="2021-06-30T15:22:54.346" v="4275" actId="478"/>
          <ac:picMkLst>
            <pc:docMk/>
            <pc:sldMk cId="4189311133" sldId="10565"/>
            <ac:picMk id="4" creationId="{4DB350EF-2B6D-4F77-9714-CDA1574089C8}"/>
          </ac:picMkLst>
        </pc:picChg>
        <pc:picChg chg="add del mod">
          <ac:chgData name="CAUSSIDOU, Fabienne" userId="d3b93ce2-b4f2-4ea8-90dc-56594dbc3f3f" providerId="ADAL" clId="{299911BD-9083-418C-BF2F-6352EC602B55}" dt="2021-06-30T15:24:11.716" v="4286" actId="478"/>
          <ac:picMkLst>
            <pc:docMk/>
            <pc:sldMk cId="4189311133" sldId="10565"/>
            <ac:picMk id="6" creationId="{D110EA14-509F-48BE-84E6-719BA044A2BF}"/>
          </ac:picMkLst>
        </pc:picChg>
        <pc:picChg chg="add mod">
          <ac:chgData name="CAUSSIDOU, Fabienne" userId="d3b93ce2-b4f2-4ea8-90dc-56594dbc3f3f" providerId="ADAL" clId="{299911BD-9083-418C-BF2F-6352EC602B55}" dt="2021-06-30T15:25:50.537" v="4338" actId="1076"/>
          <ac:picMkLst>
            <pc:docMk/>
            <pc:sldMk cId="4189311133" sldId="10565"/>
            <ac:picMk id="8" creationId="{3884A4F7-6A1B-40F9-B7C0-C29E4B309E05}"/>
          </ac:picMkLst>
        </pc:picChg>
      </pc:sldChg>
      <pc:sldChg chg="addSp delSp modSp add">
        <pc:chgData name="CAUSSIDOU, Fabienne" userId="d3b93ce2-b4f2-4ea8-90dc-56594dbc3f3f" providerId="ADAL" clId="{299911BD-9083-418C-BF2F-6352EC602B55}" dt="2021-06-30T15:27:22.307" v="4343" actId="14100"/>
        <pc:sldMkLst>
          <pc:docMk/>
          <pc:sldMk cId="637291491" sldId="10566"/>
        </pc:sldMkLst>
        <pc:spChg chg="mod">
          <ac:chgData name="CAUSSIDOU, Fabienne" userId="d3b93ce2-b4f2-4ea8-90dc-56594dbc3f3f" providerId="ADAL" clId="{299911BD-9083-418C-BF2F-6352EC602B55}" dt="2021-06-22T13:53:42.829" v="90" actId="207"/>
          <ac:spMkLst>
            <pc:docMk/>
            <pc:sldMk cId="637291491" sldId="10566"/>
            <ac:spMk id="2" creationId="{81EB7600-2E80-423B-9905-723D85FC1A0D}"/>
          </ac:spMkLst>
        </pc:spChg>
        <pc:spChg chg="add del">
          <ac:chgData name="CAUSSIDOU, Fabienne" userId="d3b93ce2-b4f2-4ea8-90dc-56594dbc3f3f" providerId="ADAL" clId="{299911BD-9083-418C-BF2F-6352EC602B55}" dt="2021-06-22T13:55:42.101" v="113" actId="478"/>
          <ac:spMkLst>
            <pc:docMk/>
            <pc:sldMk cId="637291491" sldId="10566"/>
            <ac:spMk id="8" creationId="{382A4140-716B-40BD-A4ED-8F424D3A6DE1}"/>
          </ac:spMkLst>
        </pc:spChg>
        <pc:spChg chg="del">
          <ac:chgData name="CAUSSIDOU, Fabienne" userId="d3b93ce2-b4f2-4ea8-90dc-56594dbc3f3f" providerId="ADAL" clId="{299911BD-9083-418C-BF2F-6352EC602B55}" dt="2021-06-22T13:54:07.038" v="95" actId="478"/>
          <ac:spMkLst>
            <pc:docMk/>
            <pc:sldMk cId="637291491" sldId="10566"/>
            <ac:spMk id="9" creationId="{4C7E9A3B-2FCB-4FD9-9562-8E0DE665439D}"/>
          </ac:spMkLst>
        </pc:spChg>
        <pc:spChg chg="add mod">
          <ac:chgData name="CAUSSIDOU, Fabienne" userId="d3b93ce2-b4f2-4ea8-90dc-56594dbc3f3f" providerId="ADAL" clId="{299911BD-9083-418C-BF2F-6352EC602B55}" dt="2021-06-22T13:55:43.553" v="114" actId="1076"/>
          <ac:spMkLst>
            <pc:docMk/>
            <pc:sldMk cId="637291491" sldId="10566"/>
            <ac:spMk id="10" creationId="{0F97DEE2-CDB5-44DA-89CE-2924F145EFF6}"/>
          </ac:spMkLst>
        </pc:spChg>
        <pc:spChg chg="mod">
          <ac:chgData name="CAUSSIDOU, Fabienne" userId="d3b93ce2-b4f2-4ea8-90dc-56594dbc3f3f" providerId="ADAL" clId="{299911BD-9083-418C-BF2F-6352EC602B55}" dt="2021-06-30T15:27:22.307" v="4343" actId="14100"/>
          <ac:spMkLst>
            <pc:docMk/>
            <pc:sldMk cId="637291491" sldId="10566"/>
            <ac:spMk id="11" creationId="{87C2FB14-4634-4270-AF34-4A9F88895DD2}"/>
          </ac:spMkLst>
        </pc:spChg>
        <pc:graphicFrameChg chg="mod">
          <ac:chgData name="CAUSSIDOU, Fabienne" userId="d3b93ce2-b4f2-4ea8-90dc-56594dbc3f3f" providerId="ADAL" clId="{299911BD-9083-418C-BF2F-6352EC602B55}" dt="2021-06-22T13:53:47.334" v="92" actId="1076"/>
          <ac:graphicFrameMkLst>
            <pc:docMk/>
            <pc:sldMk cId="637291491" sldId="10566"/>
            <ac:graphicFrameMk id="7" creationId="{67CE2FF2-C37C-4C12-821D-8FE38ADD1A33}"/>
          </ac:graphicFrameMkLst>
        </pc:graphicFrameChg>
        <pc:graphicFrameChg chg="del">
          <ac:chgData name="CAUSSIDOU, Fabienne" userId="d3b93ce2-b4f2-4ea8-90dc-56594dbc3f3f" providerId="ADAL" clId="{299911BD-9083-418C-BF2F-6352EC602B55}" dt="2021-06-22T13:54:04.369" v="94" actId="478"/>
          <ac:graphicFrameMkLst>
            <pc:docMk/>
            <pc:sldMk cId="637291491" sldId="10566"/>
            <ac:graphicFrameMk id="13" creationId="{73469B13-5402-48A9-94E4-2EE98BFD5053}"/>
          </ac:graphicFrameMkLst>
        </pc:graphicFrameChg>
        <pc:picChg chg="add mod">
          <ac:chgData name="CAUSSIDOU, Fabienne" userId="d3b93ce2-b4f2-4ea8-90dc-56594dbc3f3f" providerId="ADAL" clId="{299911BD-9083-418C-BF2F-6352EC602B55}" dt="2021-06-30T15:25:40.601" v="4335" actId="207"/>
          <ac:picMkLst>
            <pc:docMk/>
            <pc:sldMk cId="637291491" sldId="10566"/>
            <ac:picMk id="4" creationId="{59E253D4-8B91-4DDD-937C-96BAA01D85FC}"/>
          </ac:picMkLst>
        </pc:picChg>
      </pc:sldChg>
      <pc:sldChg chg="addSp delSp modSp">
        <pc:chgData name="CAUSSIDOU, Fabienne" userId="d3b93ce2-b4f2-4ea8-90dc-56594dbc3f3f" providerId="ADAL" clId="{299911BD-9083-418C-BF2F-6352EC602B55}" dt="2021-07-06T15:49:59.443" v="7197" actId="6549"/>
        <pc:sldMkLst>
          <pc:docMk/>
          <pc:sldMk cId="4176318226" sldId="10761"/>
        </pc:sldMkLst>
        <pc:spChg chg="mod">
          <ac:chgData name="CAUSSIDOU, Fabienne" userId="d3b93ce2-b4f2-4ea8-90dc-56594dbc3f3f" providerId="ADAL" clId="{299911BD-9083-418C-BF2F-6352EC602B55}" dt="2021-06-30T16:11:44.704" v="5218" actId="5793"/>
          <ac:spMkLst>
            <pc:docMk/>
            <pc:sldMk cId="4176318226" sldId="10761"/>
            <ac:spMk id="4" creationId="{00000000-0000-0000-0000-000000000000}"/>
          </ac:spMkLst>
        </pc:spChg>
        <pc:spChg chg="del">
          <ac:chgData name="CAUSSIDOU, Fabienne" userId="d3b93ce2-b4f2-4ea8-90dc-56594dbc3f3f" providerId="ADAL" clId="{299911BD-9083-418C-BF2F-6352EC602B55}" dt="2021-06-22T14:01:27.103" v="263" actId="478"/>
          <ac:spMkLst>
            <pc:docMk/>
            <pc:sldMk cId="4176318226" sldId="10761"/>
            <ac:spMk id="5" creationId="{AF207C38-134F-4A54-9352-A3E4C5E546CD}"/>
          </ac:spMkLst>
        </pc:spChg>
        <pc:spChg chg="mod">
          <ac:chgData name="CAUSSIDOU, Fabienne" userId="d3b93ce2-b4f2-4ea8-90dc-56594dbc3f3f" providerId="ADAL" clId="{299911BD-9083-418C-BF2F-6352EC602B55}" dt="2021-07-06T15:49:59.443" v="7197" actId="6549"/>
          <ac:spMkLst>
            <pc:docMk/>
            <pc:sldMk cId="4176318226" sldId="10761"/>
            <ac:spMk id="10" creationId="{C32F784F-38B8-4DF3-99F6-F9D2CD713469}"/>
          </ac:spMkLst>
        </pc:spChg>
        <pc:spChg chg="mod">
          <ac:chgData name="CAUSSIDOU, Fabienne" userId="d3b93ce2-b4f2-4ea8-90dc-56594dbc3f3f" providerId="ADAL" clId="{299911BD-9083-418C-BF2F-6352EC602B55}" dt="2021-06-30T16:08:53.465" v="5188" actId="554"/>
          <ac:spMkLst>
            <pc:docMk/>
            <pc:sldMk cId="4176318226" sldId="10761"/>
            <ac:spMk id="11" creationId="{BDE83D6C-8E11-46A1-84FD-D7C887B16AEE}"/>
          </ac:spMkLst>
        </pc:spChg>
        <pc:spChg chg="add mod">
          <ac:chgData name="CAUSSIDOU, Fabienne" userId="d3b93ce2-b4f2-4ea8-90dc-56594dbc3f3f" providerId="ADAL" clId="{299911BD-9083-418C-BF2F-6352EC602B55}" dt="2021-06-30T16:57:21.612" v="5872" actId="20577"/>
          <ac:spMkLst>
            <pc:docMk/>
            <pc:sldMk cId="4176318226" sldId="10761"/>
            <ac:spMk id="12" creationId="{4A368113-6122-4216-AAA4-4D8565C59350}"/>
          </ac:spMkLst>
        </pc:spChg>
        <pc:spChg chg="add del mod">
          <ac:chgData name="CAUSSIDOU, Fabienne" userId="d3b93ce2-b4f2-4ea8-90dc-56594dbc3f3f" providerId="ADAL" clId="{299911BD-9083-418C-BF2F-6352EC602B55}" dt="2021-06-24T14:52:22.094" v="1909" actId="478"/>
          <ac:spMkLst>
            <pc:docMk/>
            <pc:sldMk cId="4176318226" sldId="10761"/>
            <ac:spMk id="13" creationId="{0EC49F2C-E2AE-4BCF-8AB4-3E2694A487A2}"/>
          </ac:spMkLst>
        </pc:spChg>
        <pc:spChg chg="add mod">
          <ac:chgData name="CAUSSIDOU, Fabienne" userId="d3b93ce2-b4f2-4ea8-90dc-56594dbc3f3f" providerId="ADAL" clId="{299911BD-9083-418C-BF2F-6352EC602B55}" dt="2021-06-30T16:12:32.236" v="5318" actId="6549"/>
          <ac:spMkLst>
            <pc:docMk/>
            <pc:sldMk cId="4176318226" sldId="10761"/>
            <ac:spMk id="13" creationId="{6A192A69-FCCB-431D-BDF0-97941BC5C880}"/>
          </ac:spMkLst>
        </pc:spChg>
        <pc:spChg chg="del mod">
          <ac:chgData name="CAUSSIDOU, Fabienne" userId="d3b93ce2-b4f2-4ea8-90dc-56594dbc3f3f" providerId="ADAL" clId="{299911BD-9083-418C-BF2F-6352EC602B55}" dt="2021-06-30T16:08:11.392" v="5184" actId="478"/>
          <ac:spMkLst>
            <pc:docMk/>
            <pc:sldMk cId="4176318226" sldId="10761"/>
            <ac:spMk id="14" creationId="{518532C0-30A3-4C80-9A82-A5650B6845A9}"/>
          </ac:spMkLst>
        </pc:spChg>
        <pc:spChg chg="add mod">
          <ac:chgData name="CAUSSIDOU, Fabienne" userId="d3b93ce2-b4f2-4ea8-90dc-56594dbc3f3f" providerId="ADAL" clId="{299911BD-9083-418C-BF2F-6352EC602B55}" dt="2021-06-30T16:09:24.440" v="5191" actId="20578"/>
          <ac:spMkLst>
            <pc:docMk/>
            <pc:sldMk cId="4176318226" sldId="10761"/>
            <ac:spMk id="15" creationId="{21B3CDEB-10C1-4F8E-9679-B97B35DBA822}"/>
          </ac:spMkLst>
        </pc:spChg>
      </pc:sldChg>
      <pc:sldChg chg="modSp add ord">
        <pc:chgData name="CAUSSIDOU, Fabienne" userId="d3b93ce2-b4f2-4ea8-90dc-56594dbc3f3f" providerId="ADAL" clId="{299911BD-9083-418C-BF2F-6352EC602B55}" dt="2021-06-30T16:22:31.382" v="5468"/>
        <pc:sldMkLst>
          <pc:docMk/>
          <pc:sldMk cId="3658440839" sldId="10810"/>
        </pc:sldMkLst>
        <pc:spChg chg="mod">
          <ac:chgData name="CAUSSIDOU, Fabienne" userId="d3b93ce2-b4f2-4ea8-90dc-56594dbc3f3f" providerId="ADAL" clId="{299911BD-9083-418C-BF2F-6352EC602B55}" dt="2021-06-30T16:21:46.463" v="5463" actId="20577"/>
          <ac:spMkLst>
            <pc:docMk/>
            <pc:sldMk cId="3658440839" sldId="10810"/>
            <ac:spMk id="2" creationId="{BF2CA779-8850-43E8-B0D8-47FE7A773A70}"/>
          </ac:spMkLst>
        </pc:spChg>
      </pc:sldChg>
      <pc:sldChg chg="modSp">
        <pc:chgData name="CAUSSIDOU, Fabienne" userId="d3b93ce2-b4f2-4ea8-90dc-56594dbc3f3f" providerId="ADAL" clId="{299911BD-9083-418C-BF2F-6352EC602B55}" dt="2021-06-30T10:17:06.038" v="3539" actId="20577"/>
        <pc:sldMkLst>
          <pc:docMk/>
          <pc:sldMk cId="3526743404" sldId="10831"/>
        </pc:sldMkLst>
        <pc:spChg chg="mod">
          <ac:chgData name="CAUSSIDOU, Fabienne" userId="d3b93ce2-b4f2-4ea8-90dc-56594dbc3f3f" providerId="ADAL" clId="{299911BD-9083-418C-BF2F-6352EC602B55}" dt="2021-06-30T10:17:06.038" v="3539" actId="20577"/>
          <ac:spMkLst>
            <pc:docMk/>
            <pc:sldMk cId="3526743404" sldId="10831"/>
            <ac:spMk id="2" creationId="{BF2CA779-8850-43E8-B0D8-47FE7A773A70}"/>
          </ac:spMkLst>
        </pc:spChg>
      </pc:sldChg>
      <pc:sldChg chg="del">
        <pc:chgData name="CAUSSIDOU, Fabienne" userId="d3b93ce2-b4f2-4ea8-90dc-56594dbc3f3f" providerId="ADAL" clId="{299911BD-9083-418C-BF2F-6352EC602B55}" dt="2021-06-22T14:02:40.824" v="271" actId="2696"/>
        <pc:sldMkLst>
          <pc:docMk/>
          <pc:sldMk cId="594485226" sldId="10833"/>
        </pc:sldMkLst>
      </pc:sldChg>
      <pc:sldChg chg="del ord">
        <pc:chgData name="CAUSSIDOU, Fabienne" userId="d3b93ce2-b4f2-4ea8-90dc-56594dbc3f3f" providerId="ADAL" clId="{299911BD-9083-418C-BF2F-6352EC602B55}" dt="2021-06-30T15:39:17.162" v="4535" actId="2696"/>
        <pc:sldMkLst>
          <pc:docMk/>
          <pc:sldMk cId="2610455058" sldId="10834"/>
        </pc:sldMkLst>
      </pc:sldChg>
      <pc:sldChg chg="modSp add">
        <pc:chgData name="CAUSSIDOU, Fabienne" userId="d3b93ce2-b4f2-4ea8-90dc-56594dbc3f3f" providerId="ADAL" clId="{299911BD-9083-418C-BF2F-6352EC602B55}" dt="2021-07-06T15:58:58.143" v="7422" actId="20577"/>
        <pc:sldMkLst>
          <pc:docMk/>
          <pc:sldMk cId="3740245416" sldId="10836"/>
        </pc:sldMkLst>
        <pc:spChg chg="mod">
          <ac:chgData name="CAUSSIDOU, Fabienne" userId="d3b93ce2-b4f2-4ea8-90dc-56594dbc3f3f" providerId="ADAL" clId="{299911BD-9083-418C-BF2F-6352EC602B55}" dt="2021-07-06T15:58:58.143" v="7422" actId="20577"/>
          <ac:spMkLst>
            <pc:docMk/>
            <pc:sldMk cId="3740245416" sldId="10836"/>
            <ac:spMk id="11" creationId="{BDE83D6C-8E11-46A1-84FD-D7C887B16AEE}"/>
          </ac:spMkLst>
        </pc:spChg>
      </pc:sldChg>
      <pc:sldChg chg="del">
        <pc:chgData name="CAUSSIDOU, Fabienne" userId="d3b93ce2-b4f2-4ea8-90dc-56594dbc3f3f" providerId="ADAL" clId="{299911BD-9083-418C-BF2F-6352EC602B55}" dt="2021-06-30T10:22:34.235" v="3638" actId="2696"/>
        <pc:sldMkLst>
          <pc:docMk/>
          <pc:sldMk cId="936266656" sldId="10837"/>
        </pc:sldMkLst>
      </pc:sldChg>
      <pc:sldChg chg="modSp add">
        <pc:chgData name="CAUSSIDOU, Fabienne" userId="d3b93ce2-b4f2-4ea8-90dc-56594dbc3f3f" providerId="ADAL" clId="{299911BD-9083-418C-BF2F-6352EC602B55}" dt="2021-06-30T16:59:42.942" v="5876" actId="207"/>
        <pc:sldMkLst>
          <pc:docMk/>
          <pc:sldMk cId="463155329" sldId="10838"/>
        </pc:sldMkLst>
        <pc:spChg chg="mod">
          <ac:chgData name="CAUSSIDOU, Fabienne" userId="d3b93ce2-b4f2-4ea8-90dc-56594dbc3f3f" providerId="ADAL" clId="{299911BD-9083-418C-BF2F-6352EC602B55}" dt="2021-06-30T16:59:42.942" v="5876" actId="207"/>
          <ac:spMkLst>
            <pc:docMk/>
            <pc:sldMk cId="463155329" sldId="10838"/>
            <ac:spMk id="6" creationId="{AE1D67CB-DF84-4BDF-AECA-0E8F922906B8}"/>
          </ac:spMkLst>
        </pc:spChg>
        <pc:spChg chg="mod">
          <ac:chgData name="CAUSSIDOU, Fabienne" userId="d3b93ce2-b4f2-4ea8-90dc-56594dbc3f3f" providerId="ADAL" clId="{299911BD-9083-418C-BF2F-6352EC602B55}" dt="2021-06-30T15:39:38.246" v="4538" actId="6549"/>
          <ac:spMkLst>
            <pc:docMk/>
            <pc:sldMk cId="463155329" sldId="10838"/>
            <ac:spMk id="9" creationId="{DE816446-F1BF-4924-8726-7084BF6DCA73}"/>
          </ac:spMkLst>
        </pc:spChg>
        <pc:spChg chg="mod">
          <ac:chgData name="CAUSSIDOU, Fabienne" userId="d3b93ce2-b4f2-4ea8-90dc-56594dbc3f3f" providerId="ADAL" clId="{299911BD-9083-418C-BF2F-6352EC602B55}" dt="2021-06-30T15:39:46.367" v="4540" actId="6549"/>
          <ac:spMkLst>
            <pc:docMk/>
            <pc:sldMk cId="463155329" sldId="10838"/>
            <ac:spMk id="10" creationId="{69F1026B-E2BF-49DB-A1BF-6BF90AECF127}"/>
          </ac:spMkLst>
        </pc:spChg>
      </pc:sldChg>
      <pc:sldChg chg="modSp ord">
        <pc:chgData name="CAUSSIDOU, Fabienne" userId="d3b93ce2-b4f2-4ea8-90dc-56594dbc3f3f" providerId="ADAL" clId="{299911BD-9083-418C-BF2F-6352EC602B55}" dt="2021-06-30T16:16:06.340" v="5328" actId="20577"/>
        <pc:sldMkLst>
          <pc:docMk/>
          <pc:sldMk cId="2193808527" sldId="10884"/>
        </pc:sldMkLst>
        <pc:spChg chg="mod">
          <ac:chgData name="CAUSSIDOU, Fabienne" userId="d3b93ce2-b4f2-4ea8-90dc-56594dbc3f3f" providerId="ADAL" clId="{299911BD-9083-418C-BF2F-6352EC602B55}" dt="2021-06-30T16:16:06.340" v="5328" actId="20577"/>
          <ac:spMkLst>
            <pc:docMk/>
            <pc:sldMk cId="2193808527" sldId="10884"/>
            <ac:spMk id="2" creationId="{BF2CA779-8850-43E8-B0D8-47FE7A773A70}"/>
          </ac:spMkLst>
        </pc:spChg>
      </pc:sldChg>
      <pc:sldChg chg="del">
        <pc:chgData name="CAUSSIDOU, Fabienne" userId="d3b93ce2-b4f2-4ea8-90dc-56594dbc3f3f" providerId="ADAL" clId="{299911BD-9083-418C-BF2F-6352EC602B55}" dt="2021-06-30T10:22:38.827" v="3639" actId="2696"/>
        <pc:sldMkLst>
          <pc:docMk/>
          <pc:sldMk cId="3134853770" sldId="10885"/>
        </pc:sldMkLst>
      </pc:sldChg>
      <pc:sldChg chg="modSp del setBg">
        <pc:chgData name="CAUSSIDOU, Fabienne" userId="d3b93ce2-b4f2-4ea8-90dc-56594dbc3f3f" providerId="ADAL" clId="{299911BD-9083-418C-BF2F-6352EC602B55}" dt="2021-07-06T15:59:07.613" v="7423" actId="2696"/>
        <pc:sldMkLst>
          <pc:docMk/>
          <pc:sldMk cId="2642836659" sldId="10886"/>
        </pc:sldMkLst>
        <pc:spChg chg="mod">
          <ac:chgData name="CAUSSIDOU, Fabienne" userId="d3b93ce2-b4f2-4ea8-90dc-56594dbc3f3f" providerId="ADAL" clId="{299911BD-9083-418C-BF2F-6352EC602B55}" dt="2021-06-22T13:51:29.620" v="65" actId="207"/>
          <ac:spMkLst>
            <pc:docMk/>
            <pc:sldMk cId="2642836659" sldId="10886"/>
            <ac:spMk id="7" creationId="{A9865850-15FB-4D8B-A9DA-B89FD984BED8}"/>
          </ac:spMkLst>
        </pc:spChg>
      </pc:sldChg>
      <pc:sldChg chg="add del ord">
        <pc:chgData name="CAUSSIDOU, Fabienne" userId="d3b93ce2-b4f2-4ea8-90dc-56594dbc3f3f" providerId="ADAL" clId="{299911BD-9083-418C-BF2F-6352EC602B55}" dt="2021-06-30T10:31:35.046" v="3640" actId="2696"/>
        <pc:sldMkLst>
          <pc:docMk/>
          <pc:sldMk cId="1834110613" sldId="10887"/>
        </pc:sldMkLst>
      </pc:sldChg>
      <pc:sldChg chg="modSp add">
        <pc:chgData name="CAUSSIDOU, Fabienne" userId="d3b93ce2-b4f2-4ea8-90dc-56594dbc3f3f" providerId="ADAL" clId="{299911BD-9083-418C-BF2F-6352EC602B55}" dt="2021-07-06T16:01:38.618" v="7439" actId="6549"/>
        <pc:sldMkLst>
          <pc:docMk/>
          <pc:sldMk cId="2308819766" sldId="10888"/>
        </pc:sldMkLst>
        <pc:spChg chg="mod">
          <ac:chgData name="CAUSSIDOU, Fabienne" userId="d3b93ce2-b4f2-4ea8-90dc-56594dbc3f3f" providerId="ADAL" clId="{299911BD-9083-418C-BF2F-6352EC602B55}" dt="2021-07-06T16:01:38.618" v="7439" actId="6549"/>
          <ac:spMkLst>
            <pc:docMk/>
            <pc:sldMk cId="2308819766" sldId="10888"/>
            <ac:spMk id="11" creationId="{BDE83D6C-8E11-46A1-84FD-D7C887B16AEE}"/>
          </ac:spMkLst>
        </pc:spChg>
      </pc:sldChg>
      <pc:sldChg chg="modSp add ord">
        <pc:chgData name="CAUSSIDOU, Fabienne" userId="d3b93ce2-b4f2-4ea8-90dc-56594dbc3f3f" providerId="ADAL" clId="{299911BD-9083-418C-BF2F-6352EC602B55}" dt="2021-06-30T16:18:14.610" v="5377"/>
        <pc:sldMkLst>
          <pc:docMk/>
          <pc:sldMk cId="4228117750" sldId="10889"/>
        </pc:sldMkLst>
        <pc:spChg chg="mod">
          <ac:chgData name="CAUSSIDOU, Fabienne" userId="d3b93ce2-b4f2-4ea8-90dc-56594dbc3f3f" providerId="ADAL" clId="{299911BD-9083-418C-BF2F-6352EC602B55}" dt="2021-06-24T15:25:47.460" v="3100" actId="6549"/>
          <ac:spMkLst>
            <pc:docMk/>
            <pc:sldMk cId="4228117750" sldId="10889"/>
            <ac:spMk id="2" creationId="{654F54DF-4A14-49CC-BC9A-BDB117F39D9F}"/>
          </ac:spMkLst>
        </pc:spChg>
        <pc:spChg chg="mod">
          <ac:chgData name="CAUSSIDOU, Fabienne" userId="d3b93ce2-b4f2-4ea8-90dc-56594dbc3f3f" providerId="ADAL" clId="{299911BD-9083-418C-BF2F-6352EC602B55}" dt="2021-06-30T16:15:14.573" v="5323"/>
          <ac:spMkLst>
            <pc:docMk/>
            <pc:sldMk cId="4228117750" sldId="10889"/>
            <ac:spMk id="6" creationId="{64D99566-08FF-4791-8F22-6D3F11376292}"/>
          </ac:spMkLst>
        </pc:spChg>
        <pc:spChg chg="mod">
          <ac:chgData name="CAUSSIDOU, Fabienne" userId="d3b93ce2-b4f2-4ea8-90dc-56594dbc3f3f" providerId="ADAL" clId="{299911BD-9083-418C-BF2F-6352EC602B55}" dt="2021-06-22T13:55:28.357" v="110" actId="207"/>
          <ac:spMkLst>
            <pc:docMk/>
            <pc:sldMk cId="4228117750" sldId="10889"/>
            <ac:spMk id="12" creationId="{E2105667-8FCC-4669-B9C5-513B74A90733}"/>
          </ac:spMkLst>
        </pc:spChg>
        <pc:spChg chg="mod">
          <ac:chgData name="CAUSSIDOU, Fabienne" userId="d3b93ce2-b4f2-4ea8-90dc-56594dbc3f3f" providerId="ADAL" clId="{299911BD-9083-418C-BF2F-6352EC602B55}" dt="2021-06-22T13:55:31.064" v="111" actId="207"/>
          <ac:spMkLst>
            <pc:docMk/>
            <pc:sldMk cId="4228117750" sldId="10889"/>
            <ac:spMk id="13" creationId="{AFEFE270-FFA0-451C-858C-AAB6D35EDF7B}"/>
          </ac:spMkLst>
        </pc:spChg>
        <pc:spChg chg="mod">
          <ac:chgData name="CAUSSIDOU, Fabienne" userId="d3b93ce2-b4f2-4ea8-90dc-56594dbc3f3f" providerId="ADAL" clId="{299911BD-9083-418C-BF2F-6352EC602B55}" dt="2021-06-22T13:55:15.539" v="108" actId="207"/>
          <ac:spMkLst>
            <pc:docMk/>
            <pc:sldMk cId="4228117750" sldId="10889"/>
            <ac:spMk id="17" creationId="{6907040D-B77D-4933-9C14-B213DF401C1F}"/>
          </ac:spMkLst>
        </pc:spChg>
        <pc:spChg chg="mod">
          <ac:chgData name="CAUSSIDOU, Fabienne" userId="d3b93ce2-b4f2-4ea8-90dc-56594dbc3f3f" providerId="ADAL" clId="{299911BD-9083-418C-BF2F-6352EC602B55}" dt="2021-06-22T13:55:11.485" v="106" actId="207"/>
          <ac:spMkLst>
            <pc:docMk/>
            <pc:sldMk cId="4228117750" sldId="10889"/>
            <ac:spMk id="18" creationId="{070E69D0-403D-4C7F-A9E5-BF71071AD2EC}"/>
          </ac:spMkLst>
        </pc:spChg>
        <pc:spChg chg="mod">
          <ac:chgData name="CAUSSIDOU, Fabienne" userId="d3b93ce2-b4f2-4ea8-90dc-56594dbc3f3f" providerId="ADAL" clId="{299911BD-9083-418C-BF2F-6352EC602B55}" dt="2021-06-22T13:55:22.476" v="109" actId="207"/>
          <ac:spMkLst>
            <pc:docMk/>
            <pc:sldMk cId="4228117750" sldId="10889"/>
            <ac:spMk id="19" creationId="{551C210A-2775-4FDE-AE20-995DD8C2C788}"/>
          </ac:spMkLst>
        </pc:spChg>
        <pc:spChg chg="mod">
          <ac:chgData name="CAUSSIDOU, Fabienne" userId="d3b93ce2-b4f2-4ea8-90dc-56594dbc3f3f" providerId="ADAL" clId="{299911BD-9083-418C-BF2F-6352EC602B55}" dt="2021-06-30T16:14:27.762" v="5322"/>
          <ac:spMkLst>
            <pc:docMk/>
            <pc:sldMk cId="4228117750" sldId="10889"/>
            <ac:spMk id="21" creationId="{F20F3391-EA6E-4B19-A21F-295395448232}"/>
          </ac:spMkLst>
        </pc:spChg>
        <pc:spChg chg="mod">
          <ac:chgData name="CAUSSIDOU, Fabienne" userId="d3b93ce2-b4f2-4ea8-90dc-56594dbc3f3f" providerId="ADAL" clId="{299911BD-9083-418C-BF2F-6352EC602B55}" dt="2021-06-22T13:55:13.619" v="107" actId="207"/>
          <ac:spMkLst>
            <pc:docMk/>
            <pc:sldMk cId="4228117750" sldId="10889"/>
            <ac:spMk id="50" creationId="{D2F4E946-E5C5-4D04-8DE7-1636B91C2105}"/>
          </ac:spMkLst>
        </pc:spChg>
      </pc:sldChg>
      <pc:sldChg chg="add del">
        <pc:chgData name="CAUSSIDOU, Fabienne" userId="d3b93ce2-b4f2-4ea8-90dc-56594dbc3f3f" providerId="ADAL" clId="{299911BD-9083-418C-BF2F-6352EC602B55}" dt="2021-06-22T13:56:03.418" v="118" actId="2696"/>
        <pc:sldMkLst>
          <pc:docMk/>
          <pc:sldMk cId="492463027" sldId="10890"/>
        </pc:sldMkLst>
      </pc:sldChg>
      <pc:sldChg chg="addSp delSp modSp add ord">
        <pc:chgData name="CAUSSIDOU, Fabienne" userId="d3b93ce2-b4f2-4ea8-90dc-56594dbc3f3f" providerId="ADAL" clId="{299911BD-9083-418C-BF2F-6352EC602B55}" dt="2021-07-06T16:25:54.581" v="8267" actId="20577"/>
        <pc:sldMkLst>
          <pc:docMk/>
          <pc:sldMk cId="1751578126" sldId="10890"/>
        </pc:sldMkLst>
        <pc:spChg chg="mod">
          <ac:chgData name="CAUSSIDOU, Fabienne" userId="d3b93ce2-b4f2-4ea8-90dc-56594dbc3f3f" providerId="ADAL" clId="{299911BD-9083-418C-BF2F-6352EC602B55}" dt="2021-07-06T16:25:54.581" v="8267" actId="20577"/>
          <ac:spMkLst>
            <pc:docMk/>
            <pc:sldMk cId="1751578126" sldId="10890"/>
            <ac:spMk id="2" creationId="{2E7C573B-750B-4FD4-B8CE-AB955A21BB24}"/>
          </ac:spMkLst>
        </pc:spChg>
        <pc:spChg chg="add del mod">
          <ac:chgData name="CAUSSIDOU, Fabienne" userId="d3b93ce2-b4f2-4ea8-90dc-56594dbc3f3f" providerId="ADAL" clId="{299911BD-9083-418C-BF2F-6352EC602B55}" dt="2021-06-22T15:02:46.738" v="1293" actId="478"/>
          <ac:spMkLst>
            <pc:docMk/>
            <pc:sldMk cId="1751578126" sldId="10890"/>
            <ac:spMk id="3" creationId="{416D9BE2-5496-47AC-B6B3-5BF5BC8420E9}"/>
          </ac:spMkLst>
        </pc:spChg>
        <pc:spChg chg="add del mod">
          <ac:chgData name="CAUSSIDOU, Fabienne" userId="d3b93ce2-b4f2-4ea8-90dc-56594dbc3f3f" providerId="ADAL" clId="{299911BD-9083-418C-BF2F-6352EC602B55}" dt="2021-06-22T15:02:32.274" v="1292"/>
          <ac:spMkLst>
            <pc:docMk/>
            <pc:sldMk cId="1751578126" sldId="10890"/>
            <ac:spMk id="4" creationId="{07177F8B-F517-4DE9-8608-21D3602AA5B4}"/>
          </ac:spMkLst>
        </pc:spChg>
        <pc:spChg chg="mod">
          <ac:chgData name="CAUSSIDOU, Fabienne" userId="d3b93ce2-b4f2-4ea8-90dc-56594dbc3f3f" providerId="ADAL" clId="{299911BD-9083-418C-BF2F-6352EC602B55}" dt="2021-07-06T15:49:46.904" v="7196" actId="20577"/>
          <ac:spMkLst>
            <pc:docMk/>
            <pc:sldMk cId="1751578126" sldId="10890"/>
            <ac:spMk id="5" creationId="{2D24385A-A44C-49AA-B52B-EC74C2C0C4B8}"/>
          </ac:spMkLst>
        </pc:spChg>
        <pc:picChg chg="add del mod">
          <ac:chgData name="CAUSSIDOU, Fabienne" userId="d3b93ce2-b4f2-4ea8-90dc-56594dbc3f3f" providerId="ADAL" clId="{299911BD-9083-418C-BF2F-6352EC602B55}" dt="2021-06-24T15:11:43.297" v="2623" actId="478"/>
          <ac:picMkLst>
            <pc:docMk/>
            <pc:sldMk cId="1751578126" sldId="10890"/>
            <ac:picMk id="6" creationId="{57DBC762-412C-4A43-A103-30765950CEE3}"/>
          </ac:picMkLst>
        </pc:picChg>
      </pc:sldChg>
      <pc:sldChg chg="delSp modSp add del">
        <pc:chgData name="CAUSSIDOU, Fabienne" userId="d3b93ce2-b4f2-4ea8-90dc-56594dbc3f3f" providerId="ADAL" clId="{299911BD-9083-418C-BF2F-6352EC602B55}" dt="2021-06-22T14:00:17.540" v="229" actId="2696"/>
        <pc:sldMkLst>
          <pc:docMk/>
          <pc:sldMk cId="4133505459" sldId="10890"/>
        </pc:sldMkLst>
        <pc:spChg chg="mod">
          <ac:chgData name="CAUSSIDOU, Fabienne" userId="d3b93ce2-b4f2-4ea8-90dc-56594dbc3f3f" providerId="ADAL" clId="{299911BD-9083-418C-BF2F-6352EC602B55}" dt="2021-06-22T13:57:44.581" v="153" actId="20577"/>
          <ac:spMkLst>
            <pc:docMk/>
            <pc:sldMk cId="4133505459" sldId="10890"/>
            <ac:spMk id="2" creationId="{81EB7600-2E80-423B-9905-723D85FC1A0D}"/>
          </ac:spMkLst>
        </pc:spChg>
        <pc:graphicFrameChg chg="del">
          <ac:chgData name="CAUSSIDOU, Fabienne" userId="d3b93ce2-b4f2-4ea8-90dc-56594dbc3f3f" providerId="ADAL" clId="{299911BD-9083-418C-BF2F-6352EC602B55}" dt="2021-06-22T13:57:36.436" v="126" actId="478"/>
          <ac:graphicFrameMkLst>
            <pc:docMk/>
            <pc:sldMk cId="4133505459" sldId="10890"/>
            <ac:graphicFrameMk id="7" creationId="{67CE2FF2-C37C-4C12-821D-8FE38ADD1A33}"/>
          </ac:graphicFrameMkLst>
        </pc:graphicFrameChg>
      </pc:sldChg>
      <pc:sldChg chg="add del">
        <pc:chgData name="CAUSSIDOU, Fabienne" userId="d3b93ce2-b4f2-4ea8-90dc-56594dbc3f3f" providerId="ADAL" clId="{299911BD-9083-418C-BF2F-6352EC602B55}" dt="2021-06-24T15:23:01.365" v="3027" actId="2696"/>
        <pc:sldMkLst>
          <pc:docMk/>
          <pc:sldMk cId="535317517" sldId="10891"/>
        </pc:sldMkLst>
      </pc:sldChg>
      <pc:sldChg chg="addSp delSp modSp add ord">
        <pc:chgData name="CAUSSIDOU, Fabienne" userId="d3b93ce2-b4f2-4ea8-90dc-56594dbc3f3f" providerId="ADAL" clId="{299911BD-9083-418C-BF2F-6352EC602B55}" dt="2021-07-06T15:58:47.817" v="7415" actId="20577"/>
        <pc:sldMkLst>
          <pc:docMk/>
          <pc:sldMk cId="3008669398" sldId="10891"/>
        </pc:sldMkLst>
        <pc:spChg chg="mod">
          <ac:chgData name="CAUSSIDOU, Fabienne" userId="d3b93ce2-b4f2-4ea8-90dc-56594dbc3f3f" providerId="ADAL" clId="{299911BD-9083-418C-BF2F-6352EC602B55}" dt="2021-07-06T15:56:13.686" v="7245" actId="20577"/>
          <ac:spMkLst>
            <pc:docMk/>
            <pc:sldMk cId="3008669398" sldId="10891"/>
            <ac:spMk id="2" creationId="{00000000-0000-0000-0000-000000000000}"/>
          </ac:spMkLst>
        </pc:spChg>
        <pc:spChg chg="add del">
          <ac:chgData name="CAUSSIDOU, Fabienne" userId="d3b93ce2-b4f2-4ea8-90dc-56594dbc3f3f" providerId="ADAL" clId="{299911BD-9083-418C-BF2F-6352EC602B55}" dt="2021-06-30T10:21:19.538" v="3637" actId="478"/>
          <ac:spMkLst>
            <pc:docMk/>
            <pc:sldMk cId="3008669398" sldId="10891"/>
            <ac:spMk id="3" creationId="{00000000-0000-0000-0000-000000000000}"/>
          </ac:spMkLst>
        </pc:spChg>
        <pc:spChg chg="mod">
          <ac:chgData name="CAUSSIDOU, Fabienne" userId="d3b93ce2-b4f2-4ea8-90dc-56594dbc3f3f" providerId="ADAL" clId="{299911BD-9083-418C-BF2F-6352EC602B55}" dt="2021-07-06T15:52:24.731" v="7201" actId="1076"/>
          <ac:spMkLst>
            <pc:docMk/>
            <pc:sldMk cId="3008669398" sldId="10891"/>
            <ac:spMk id="4" creationId="{00000000-0000-0000-0000-000000000000}"/>
          </ac:spMkLst>
        </pc:spChg>
        <pc:spChg chg="del mod">
          <ac:chgData name="CAUSSIDOU, Fabienne" userId="d3b93ce2-b4f2-4ea8-90dc-56594dbc3f3f" providerId="ADAL" clId="{299911BD-9083-418C-BF2F-6352EC602B55}" dt="2021-07-06T15:52:20.310" v="7200" actId="478"/>
          <ac:spMkLst>
            <pc:docMk/>
            <pc:sldMk cId="3008669398" sldId="10891"/>
            <ac:spMk id="10" creationId="{C32F784F-38B8-4DF3-99F6-F9D2CD713469}"/>
          </ac:spMkLst>
        </pc:spChg>
        <pc:spChg chg="mod">
          <ac:chgData name="CAUSSIDOU, Fabienne" userId="d3b93ce2-b4f2-4ea8-90dc-56594dbc3f3f" providerId="ADAL" clId="{299911BD-9083-418C-BF2F-6352EC602B55}" dt="2021-07-06T15:58:47.817" v="7415" actId="20577"/>
          <ac:spMkLst>
            <pc:docMk/>
            <pc:sldMk cId="3008669398" sldId="10891"/>
            <ac:spMk id="11" creationId="{BDE83D6C-8E11-46A1-84FD-D7C887B16AEE}"/>
          </ac:spMkLst>
        </pc:spChg>
        <pc:spChg chg="del">
          <ac:chgData name="CAUSSIDOU, Fabienne" userId="d3b93ce2-b4f2-4ea8-90dc-56594dbc3f3f" providerId="ADAL" clId="{299911BD-9083-418C-BF2F-6352EC602B55}" dt="2021-06-30T10:19:30.441" v="3601" actId="478"/>
          <ac:spMkLst>
            <pc:docMk/>
            <pc:sldMk cId="3008669398" sldId="10891"/>
            <ac:spMk id="12" creationId="{7FA0B5C7-0F17-4519-97A7-EC5493E39AA9}"/>
          </ac:spMkLst>
        </pc:spChg>
        <pc:spChg chg="del mod">
          <ac:chgData name="CAUSSIDOU, Fabienne" userId="d3b93ce2-b4f2-4ea8-90dc-56594dbc3f3f" providerId="ADAL" clId="{299911BD-9083-418C-BF2F-6352EC602B55}" dt="2021-06-30T10:19:33.556" v="3604" actId="478"/>
          <ac:spMkLst>
            <pc:docMk/>
            <pc:sldMk cId="3008669398" sldId="10891"/>
            <ac:spMk id="16" creationId="{A8E7EAF9-335B-4DD0-AEF5-652F5E371E8A}"/>
          </ac:spMkLst>
        </pc:spChg>
        <pc:picChg chg="del">
          <ac:chgData name="CAUSSIDOU, Fabienne" userId="d3b93ce2-b4f2-4ea8-90dc-56594dbc3f3f" providerId="ADAL" clId="{299911BD-9083-418C-BF2F-6352EC602B55}" dt="2021-06-30T10:19:31.653" v="3602" actId="478"/>
          <ac:picMkLst>
            <pc:docMk/>
            <pc:sldMk cId="3008669398" sldId="10891"/>
            <ac:picMk id="13" creationId="{B07D2551-1ACB-4602-9B08-CC2F91809413}"/>
          </ac:picMkLst>
        </pc:picChg>
        <pc:picChg chg="del">
          <ac:chgData name="CAUSSIDOU, Fabienne" userId="d3b93ce2-b4f2-4ea8-90dc-56594dbc3f3f" providerId="ADAL" clId="{299911BD-9083-418C-BF2F-6352EC602B55}" dt="2021-06-30T10:19:32.678" v="3603" actId="478"/>
          <ac:picMkLst>
            <pc:docMk/>
            <pc:sldMk cId="3008669398" sldId="10891"/>
            <ac:picMk id="15" creationId="{C5FA08E6-D510-4B16-9196-E36C0AEC3007}"/>
          </ac:picMkLst>
        </pc:picChg>
      </pc:sldChg>
      <pc:sldChg chg="addSp modSp add setBg">
        <pc:chgData name="CAUSSIDOU, Fabienne" userId="d3b93ce2-b4f2-4ea8-90dc-56594dbc3f3f" providerId="ADAL" clId="{299911BD-9083-418C-BF2F-6352EC602B55}" dt="2021-07-06T16:32:28.151" v="8695" actId="6549"/>
        <pc:sldMkLst>
          <pc:docMk/>
          <pc:sldMk cId="3103613329" sldId="10892"/>
        </pc:sldMkLst>
        <pc:spChg chg="add mod">
          <ac:chgData name="CAUSSIDOU, Fabienne" userId="d3b93ce2-b4f2-4ea8-90dc-56594dbc3f3f" providerId="ADAL" clId="{299911BD-9083-418C-BF2F-6352EC602B55}" dt="2021-07-06T16:32:28.151" v="8695" actId="6549"/>
          <ac:spMkLst>
            <pc:docMk/>
            <pc:sldMk cId="3103613329" sldId="10892"/>
            <ac:spMk id="7" creationId="{CCD01A85-1B4C-4317-992D-9EFADDC51F46}"/>
          </ac:spMkLst>
        </pc:spChg>
        <pc:spChg chg="mod">
          <ac:chgData name="CAUSSIDOU, Fabienne" userId="d3b93ce2-b4f2-4ea8-90dc-56594dbc3f3f" providerId="ADAL" clId="{299911BD-9083-418C-BF2F-6352EC602B55}" dt="2021-06-30T16:59:48.857" v="5877" actId="207"/>
          <ac:spMkLst>
            <pc:docMk/>
            <pc:sldMk cId="3103613329" sldId="10892"/>
            <ac:spMk id="11" creationId="{BDE83D6C-8E11-46A1-84FD-D7C887B16AEE}"/>
          </ac:spMkLst>
        </pc:spChg>
      </pc:sldChg>
      <pc:sldChg chg="add del">
        <pc:chgData name="CAUSSIDOU, Fabienne" userId="d3b93ce2-b4f2-4ea8-90dc-56594dbc3f3f" providerId="ADAL" clId="{299911BD-9083-418C-BF2F-6352EC602B55}" dt="2021-06-24T15:28:02.744" v="3191" actId="2696"/>
        <pc:sldMkLst>
          <pc:docMk/>
          <pc:sldMk cId="458472093" sldId="10893"/>
        </pc:sldMkLst>
      </pc:sldChg>
      <pc:sldChg chg="addSp modSp add del ord">
        <pc:chgData name="CAUSSIDOU, Fabienne" userId="d3b93ce2-b4f2-4ea8-90dc-56594dbc3f3f" providerId="ADAL" clId="{299911BD-9083-418C-BF2F-6352EC602B55}" dt="2021-07-06T15:44:44.731" v="7132" actId="2696"/>
        <pc:sldMkLst>
          <pc:docMk/>
          <pc:sldMk cId="2627162645" sldId="10893"/>
        </pc:sldMkLst>
        <pc:spChg chg="mod">
          <ac:chgData name="CAUSSIDOU, Fabienne" userId="d3b93ce2-b4f2-4ea8-90dc-56594dbc3f3f" providerId="ADAL" clId="{299911BD-9083-418C-BF2F-6352EC602B55}" dt="2021-06-30T08:49:01.583" v="3400" actId="20577"/>
          <ac:spMkLst>
            <pc:docMk/>
            <pc:sldMk cId="2627162645" sldId="10893"/>
            <ac:spMk id="2" creationId="{2E7C573B-750B-4FD4-B8CE-AB955A21BB24}"/>
          </ac:spMkLst>
        </pc:spChg>
        <pc:spChg chg="add mod">
          <ac:chgData name="CAUSSIDOU, Fabienne" userId="d3b93ce2-b4f2-4ea8-90dc-56594dbc3f3f" providerId="ADAL" clId="{299911BD-9083-418C-BF2F-6352EC602B55}" dt="2021-06-30T15:29:03.913" v="4352" actId="20577"/>
          <ac:spMkLst>
            <pc:docMk/>
            <pc:sldMk cId="2627162645" sldId="10893"/>
            <ac:spMk id="4" creationId="{4E00B0CC-FDFC-4BEC-893F-E03CD60D6100}"/>
          </ac:spMkLst>
        </pc:spChg>
        <pc:spChg chg="mod">
          <ac:chgData name="CAUSSIDOU, Fabienne" userId="d3b93ce2-b4f2-4ea8-90dc-56594dbc3f3f" providerId="ADAL" clId="{299911BD-9083-418C-BF2F-6352EC602B55}" dt="2021-06-24T15:35:27.162" v="3305" actId="6549"/>
          <ac:spMkLst>
            <pc:docMk/>
            <pc:sldMk cId="2627162645" sldId="10893"/>
            <ac:spMk id="5" creationId="{2D24385A-A44C-49AA-B52B-EC74C2C0C4B8}"/>
          </ac:spMkLst>
        </pc:spChg>
      </pc:sldChg>
      <pc:sldChg chg="add del">
        <pc:chgData name="CAUSSIDOU, Fabienne" userId="d3b93ce2-b4f2-4ea8-90dc-56594dbc3f3f" providerId="ADAL" clId="{299911BD-9083-418C-BF2F-6352EC602B55}" dt="2021-06-30T10:18:36.453" v="3566" actId="2696"/>
        <pc:sldMkLst>
          <pc:docMk/>
          <pc:sldMk cId="3810017341" sldId="10894"/>
        </pc:sldMkLst>
      </pc:sldChg>
      <pc:sldChg chg="modSp add">
        <pc:chgData name="CAUSSIDOU, Fabienne" userId="d3b93ce2-b4f2-4ea8-90dc-56594dbc3f3f" providerId="ADAL" clId="{299911BD-9083-418C-BF2F-6352EC602B55}" dt="2021-06-30T10:21:00.713" v="3635" actId="20577"/>
        <pc:sldMkLst>
          <pc:docMk/>
          <pc:sldMk cId="2108758834" sldId="10895"/>
        </pc:sldMkLst>
        <pc:spChg chg="mod">
          <ac:chgData name="CAUSSIDOU, Fabienne" userId="d3b93ce2-b4f2-4ea8-90dc-56594dbc3f3f" providerId="ADAL" clId="{299911BD-9083-418C-BF2F-6352EC602B55}" dt="2021-06-30T10:21:00.713" v="3635" actId="20577"/>
          <ac:spMkLst>
            <pc:docMk/>
            <pc:sldMk cId="2108758834" sldId="10895"/>
            <ac:spMk id="2" creationId="{BF2CA779-8850-43E8-B0D8-47FE7A773A70}"/>
          </ac:spMkLst>
        </pc:spChg>
      </pc:sldChg>
      <pc:sldChg chg="addSp delSp modSp add del">
        <pc:chgData name="CAUSSIDOU, Fabienne" userId="d3b93ce2-b4f2-4ea8-90dc-56594dbc3f3f" providerId="ADAL" clId="{299911BD-9083-418C-BF2F-6352EC602B55}" dt="2021-06-30T15:36:46.315" v="4433" actId="2696"/>
        <pc:sldMkLst>
          <pc:docMk/>
          <pc:sldMk cId="951918877" sldId="10896"/>
        </pc:sldMkLst>
        <pc:spChg chg="mod">
          <ac:chgData name="CAUSSIDOU, Fabienne" userId="d3b93ce2-b4f2-4ea8-90dc-56594dbc3f3f" providerId="ADAL" clId="{299911BD-9083-418C-BF2F-6352EC602B55}" dt="2021-06-30T13:44:44.656" v="4263" actId="20577"/>
          <ac:spMkLst>
            <pc:docMk/>
            <pc:sldMk cId="951918877" sldId="10896"/>
            <ac:spMk id="2" creationId="{A6CAB8AE-0DBD-4FC2-B0B9-D9E380828061}"/>
          </ac:spMkLst>
        </pc:spChg>
        <pc:spChg chg="add del">
          <ac:chgData name="CAUSSIDOU, Fabienne" userId="d3b93ce2-b4f2-4ea8-90dc-56594dbc3f3f" providerId="ADAL" clId="{299911BD-9083-418C-BF2F-6352EC602B55}" dt="2021-06-30T13:46:12.997" v="4266" actId="478"/>
          <ac:spMkLst>
            <pc:docMk/>
            <pc:sldMk cId="951918877" sldId="10896"/>
            <ac:spMk id="5" creationId="{7F705471-21EA-463E-8085-AC8E6CC67AA3}"/>
          </ac:spMkLst>
        </pc:spChg>
        <pc:graphicFrameChg chg="del">
          <ac:chgData name="CAUSSIDOU, Fabienne" userId="d3b93ce2-b4f2-4ea8-90dc-56594dbc3f3f" providerId="ADAL" clId="{299911BD-9083-418C-BF2F-6352EC602B55}" dt="2021-06-30T13:44:35.142" v="4245" actId="478"/>
          <ac:graphicFrameMkLst>
            <pc:docMk/>
            <pc:sldMk cId="951918877" sldId="10896"/>
            <ac:graphicFrameMk id="13" creationId="{AC7F8560-B776-4244-AF78-9DF80A10A3EE}"/>
          </ac:graphicFrameMkLst>
        </pc:graphicFrameChg>
      </pc:sldChg>
      <pc:sldChg chg="delSp modSp add del">
        <pc:chgData name="CAUSSIDOU, Fabienne" userId="d3b93ce2-b4f2-4ea8-90dc-56594dbc3f3f" providerId="ADAL" clId="{299911BD-9083-418C-BF2F-6352EC602B55}" dt="2021-06-30T15:29:21.782" v="4356" actId="2696"/>
        <pc:sldMkLst>
          <pc:docMk/>
          <pc:sldMk cId="2038893974" sldId="10897"/>
        </pc:sldMkLst>
        <pc:spChg chg="del mod">
          <ac:chgData name="CAUSSIDOU, Fabienne" userId="d3b93ce2-b4f2-4ea8-90dc-56594dbc3f3f" providerId="ADAL" clId="{299911BD-9083-418C-BF2F-6352EC602B55}" dt="2021-06-30T15:29:20.757" v="4355"/>
          <ac:spMkLst>
            <pc:docMk/>
            <pc:sldMk cId="2038893974" sldId="10897"/>
            <ac:spMk id="5" creationId="{2D24385A-A44C-49AA-B52B-EC74C2C0C4B8}"/>
          </ac:spMkLst>
        </pc:spChg>
      </pc:sldChg>
      <pc:sldChg chg="modSp add ord">
        <pc:chgData name="CAUSSIDOU, Fabienne" userId="d3b93ce2-b4f2-4ea8-90dc-56594dbc3f3f" providerId="ADAL" clId="{299911BD-9083-418C-BF2F-6352EC602B55}" dt="2021-06-30T16:15:49.700" v="5325"/>
        <pc:sldMkLst>
          <pc:docMk/>
          <pc:sldMk cId="3618910511" sldId="11265"/>
        </pc:sldMkLst>
        <pc:spChg chg="mod">
          <ac:chgData name="CAUSSIDOU, Fabienne" userId="d3b93ce2-b4f2-4ea8-90dc-56594dbc3f3f" providerId="ADAL" clId="{299911BD-9083-418C-BF2F-6352EC602B55}" dt="2021-06-30T15:37:00.455" v="4434" actId="108"/>
          <ac:spMkLst>
            <pc:docMk/>
            <pc:sldMk cId="3618910511" sldId="11265"/>
            <ac:spMk id="2" creationId="{A7DF3219-2F78-4ED7-A026-C93C48279065}"/>
          </ac:spMkLst>
        </pc:spChg>
        <pc:spChg chg="mod">
          <ac:chgData name="CAUSSIDOU, Fabienne" userId="d3b93ce2-b4f2-4ea8-90dc-56594dbc3f3f" providerId="ADAL" clId="{299911BD-9083-418C-BF2F-6352EC602B55}" dt="2021-06-30T15:36:38.098" v="4432" actId="790"/>
          <ac:spMkLst>
            <pc:docMk/>
            <pc:sldMk cId="3618910511" sldId="11265"/>
            <ac:spMk id="4" creationId="{ED20DCD6-FF21-40DE-81DE-7DAA33ADFDC4}"/>
          </ac:spMkLst>
        </pc:spChg>
      </pc:sldChg>
      <pc:sldChg chg="add del">
        <pc:chgData name="CAUSSIDOU, Fabienne" userId="d3b93ce2-b4f2-4ea8-90dc-56594dbc3f3f" providerId="ADAL" clId="{299911BD-9083-418C-BF2F-6352EC602B55}" dt="2021-06-30T16:23:19.846" v="5486" actId="2696"/>
        <pc:sldMkLst>
          <pc:docMk/>
          <pc:sldMk cId="1922885916" sldId="11266"/>
        </pc:sldMkLst>
      </pc:sldChg>
      <pc:sldChg chg="addSp delSp modSp add setBg">
        <pc:chgData name="CAUSSIDOU, Fabienne" userId="d3b93ce2-b4f2-4ea8-90dc-56594dbc3f3f" providerId="ADAL" clId="{299911BD-9083-418C-BF2F-6352EC602B55}" dt="2021-07-06T16:32:15.902" v="8680" actId="5793"/>
        <pc:sldMkLst>
          <pc:docMk/>
          <pc:sldMk cId="3266029687" sldId="11267"/>
        </pc:sldMkLst>
        <pc:spChg chg="add del mod">
          <ac:chgData name="CAUSSIDOU, Fabienne" userId="d3b93ce2-b4f2-4ea8-90dc-56594dbc3f3f" providerId="ADAL" clId="{299911BD-9083-418C-BF2F-6352EC602B55}" dt="2021-06-30T15:47:22.398" v="4765" actId="478"/>
          <ac:spMkLst>
            <pc:docMk/>
            <pc:sldMk cId="3266029687" sldId="11267"/>
            <ac:spMk id="4" creationId="{9A23811A-74C6-49EB-94FD-E03D41FC1555}"/>
          </ac:spMkLst>
        </pc:spChg>
        <pc:spChg chg="add del mod">
          <ac:chgData name="CAUSSIDOU, Fabienne" userId="d3b93ce2-b4f2-4ea8-90dc-56594dbc3f3f" providerId="ADAL" clId="{299911BD-9083-418C-BF2F-6352EC602B55}" dt="2021-06-30T15:47:19.885" v="4764" actId="478"/>
          <ac:spMkLst>
            <pc:docMk/>
            <pc:sldMk cId="3266029687" sldId="11267"/>
            <ac:spMk id="7" creationId="{4338326A-4C04-42A2-96EA-1F3064C7A8A1}"/>
          </ac:spMkLst>
        </pc:spChg>
        <pc:spChg chg="add mod">
          <ac:chgData name="CAUSSIDOU, Fabienne" userId="d3b93ce2-b4f2-4ea8-90dc-56594dbc3f3f" providerId="ADAL" clId="{299911BD-9083-418C-BF2F-6352EC602B55}" dt="2021-07-06T16:32:15.902" v="8680" actId="5793"/>
          <ac:spMkLst>
            <pc:docMk/>
            <pc:sldMk cId="3266029687" sldId="11267"/>
            <ac:spMk id="9" creationId="{031BC598-5BBD-42A6-A3A7-FF9471E24182}"/>
          </ac:spMkLst>
        </pc:spChg>
        <pc:spChg chg="mod">
          <ac:chgData name="CAUSSIDOU, Fabienne" userId="d3b93ce2-b4f2-4ea8-90dc-56594dbc3f3f" providerId="ADAL" clId="{299911BD-9083-418C-BF2F-6352EC602B55}" dt="2021-06-30T16:59:55.006" v="5878" actId="207"/>
          <ac:spMkLst>
            <pc:docMk/>
            <pc:sldMk cId="3266029687" sldId="11267"/>
            <ac:spMk id="11" creationId="{BDE83D6C-8E11-46A1-84FD-D7C887B16AEE}"/>
          </ac:spMkLst>
        </pc:spChg>
      </pc:sldChg>
      <pc:sldChg chg="modSp add del">
        <pc:chgData name="CAUSSIDOU, Fabienne" userId="d3b93ce2-b4f2-4ea8-90dc-56594dbc3f3f" providerId="ADAL" clId="{299911BD-9083-418C-BF2F-6352EC602B55}" dt="2021-07-06T16:31:56.769" v="8672" actId="2696"/>
        <pc:sldMkLst>
          <pc:docMk/>
          <pc:sldMk cId="2202902605" sldId="11268"/>
        </pc:sldMkLst>
        <pc:spChg chg="mod">
          <ac:chgData name="CAUSSIDOU, Fabienne" userId="d3b93ce2-b4f2-4ea8-90dc-56594dbc3f3f" providerId="ADAL" clId="{299911BD-9083-418C-BF2F-6352EC602B55}" dt="2021-06-30T16:59:24.247" v="5875" actId="207"/>
          <ac:spMkLst>
            <pc:docMk/>
            <pc:sldMk cId="2202902605" sldId="11268"/>
            <ac:spMk id="2" creationId="{654F54DF-4A14-49CC-BC9A-BDB117F39D9F}"/>
          </ac:spMkLst>
        </pc:spChg>
        <pc:spChg chg="mod">
          <ac:chgData name="CAUSSIDOU, Fabienne" userId="d3b93ce2-b4f2-4ea8-90dc-56594dbc3f3f" providerId="ADAL" clId="{299911BD-9083-418C-BF2F-6352EC602B55}" dt="2021-06-30T15:41:55.414" v="4547"/>
          <ac:spMkLst>
            <pc:docMk/>
            <pc:sldMk cId="2202902605" sldId="11268"/>
            <ac:spMk id="37" creationId="{853796A3-8FE0-4C06-B9AA-097BC5F0048C}"/>
          </ac:spMkLst>
        </pc:spChg>
        <pc:grpChg chg="mod">
          <ac:chgData name="CAUSSIDOU, Fabienne" userId="d3b93ce2-b4f2-4ea8-90dc-56594dbc3f3f" providerId="ADAL" clId="{299911BD-9083-418C-BF2F-6352EC602B55}" dt="2021-06-30T15:41:55.414" v="4547"/>
          <ac:grpSpMkLst>
            <pc:docMk/>
            <pc:sldMk cId="2202902605" sldId="11268"/>
            <ac:grpSpMk id="6" creationId="{8B9E0330-5C47-4037-A3A5-31086EE2CE72}"/>
          </ac:grpSpMkLst>
        </pc:grpChg>
      </pc:sldChg>
      <pc:sldChg chg="modSp add">
        <pc:chgData name="CAUSSIDOU, Fabienne" userId="d3b93ce2-b4f2-4ea8-90dc-56594dbc3f3f" providerId="ADAL" clId="{299911BD-9083-418C-BF2F-6352EC602B55}" dt="2021-06-30T16:16:18.568" v="5341" actId="20577"/>
        <pc:sldMkLst>
          <pc:docMk/>
          <pc:sldMk cId="1994381881" sldId="11269"/>
        </pc:sldMkLst>
        <pc:spChg chg="mod">
          <ac:chgData name="CAUSSIDOU, Fabienne" userId="d3b93ce2-b4f2-4ea8-90dc-56594dbc3f3f" providerId="ADAL" clId="{299911BD-9083-418C-BF2F-6352EC602B55}" dt="2021-06-30T16:16:18.568" v="5341" actId="20577"/>
          <ac:spMkLst>
            <pc:docMk/>
            <pc:sldMk cId="1994381881" sldId="11269"/>
            <ac:spMk id="2" creationId="{BF2CA779-8850-43E8-B0D8-47FE7A773A70}"/>
          </ac:spMkLst>
        </pc:spChg>
      </pc:sldChg>
      <pc:sldChg chg="addSp delSp modSp add">
        <pc:chgData name="CAUSSIDOU, Fabienne" userId="d3b93ce2-b4f2-4ea8-90dc-56594dbc3f3f" providerId="ADAL" clId="{299911BD-9083-418C-BF2F-6352EC602B55}" dt="2021-07-06T16:12:41.149" v="7720" actId="20577"/>
        <pc:sldMkLst>
          <pc:docMk/>
          <pc:sldMk cId="2093075270" sldId="11270"/>
        </pc:sldMkLst>
        <pc:spChg chg="mod">
          <ac:chgData name="CAUSSIDOU, Fabienne" userId="d3b93ce2-b4f2-4ea8-90dc-56594dbc3f3f" providerId="ADAL" clId="{299911BD-9083-418C-BF2F-6352EC602B55}" dt="2021-06-30T16:16:41.405" v="5367" actId="20577"/>
          <ac:spMkLst>
            <pc:docMk/>
            <pc:sldMk cId="2093075270" sldId="11270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299911BD-9083-418C-BF2F-6352EC602B55}" dt="2021-07-06T16:12:41.149" v="7720" actId="20577"/>
          <ac:spMkLst>
            <pc:docMk/>
            <pc:sldMk cId="2093075270" sldId="11270"/>
            <ac:spMk id="4" creationId="{D212B4BD-3E38-463C-9954-C08D0C26EF7A}"/>
          </ac:spMkLst>
        </pc:spChg>
        <pc:spChg chg="del">
          <ac:chgData name="CAUSSIDOU, Fabienne" userId="d3b93ce2-b4f2-4ea8-90dc-56594dbc3f3f" providerId="ADAL" clId="{299911BD-9083-418C-BF2F-6352EC602B55}" dt="2021-06-30T16:16:47.347" v="5369" actId="478"/>
          <ac:spMkLst>
            <pc:docMk/>
            <pc:sldMk cId="2093075270" sldId="11270"/>
            <ac:spMk id="4" creationId="{ED20DCD6-FF21-40DE-81DE-7DAA33ADFDC4}"/>
          </ac:spMkLst>
        </pc:spChg>
        <pc:spChg chg="del">
          <ac:chgData name="CAUSSIDOU, Fabienne" userId="d3b93ce2-b4f2-4ea8-90dc-56594dbc3f3f" providerId="ADAL" clId="{299911BD-9083-418C-BF2F-6352EC602B55}" dt="2021-06-30T16:16:44.127" v="5368" actId="478"/>
          <ac:spMkLst>
            <pc:docMk/>
            <pc:sldMk cId="2093075270" sldId="11270"/>
            <ac:spMk id="8" creationId="{D3FF2CF4-C507-4562-9897-7F520FD487F2}"/>
          </ac:spMkLst>
        </pc:spChg>
        <pc:spChg chg="add del mod">
          <ac:chgData name="CAUSSIDOU, Fabienne" userId="d3b93ce2-b4f2-4ea8-90dc-56594dbc3f3f" providerId="ADAL" clId="{299911BD-9083-418C-BF2F-6352EC602B55}" dt="2021-06-30T16:31:29.392" v="5505" actId="478"/>
          <ac:spMkLst>
            <pc:docMk/>
            <pc:sldMk cId="2093075270" sldId="11270"/>
            <ac:spMk id="10" creationId="{AB42D58C-427B-4A7D-90C7-19E38DFB8CD3}"/>
          </ac:spMkLst>
        </pc:spChg>
        <pc:graphicFrameChg chg="add del">
          <ac:chgData name="CAUSSIDOU, Fabienne" userId="d3b93ce2-b4f2-4ea8-90dc-56594dbc3f3f" providerId="ADAL" clId="{299911BD-9083-418C-BF2F-6352EC602B55}" dt="2021-06-30T16:31:21.481" v="5501"/>
          <ac:graphicFrameMkLst>
            <pc:docMk/>
            <pc:sldMk cId="2093075270" sldId="11270"/>
            <ac:graphicFrameMk id="11" creationId="{B3834C07-4C8B-4DDF-9293-743666FD4ECF}"/>
          </ac:graphicFrameMkLst>
        </pc:graphicFrameChg>
        <pc:picChg chg="del">
          <ac:chgData name="CAUSSIDOU, Fabienne" userId="d3b93ce2-b4f2-4ea8-90dc-56594dbc3f3f" providerId="ADAL" clId="{299911BD-9083-418C-BF2F-6352EC602B55}" dt="2021-06-30T16:16:44.127" v="5368" actId="478"/>
          <ac:picMkLst>
            <pc:docMk/>
            <pc:sldMk cId="2093075270" sldId="11270"/>
            <ac:picMk id="6" creationId="{9DE82FE9-793A-4CC8-BD1D-5D73BACA0353}"/>
          </ac:picMkLst>
        </pc:picChg>
        <pc:picChg chg="add mod">
          <ac:chgData name="CAUSSIDOU, Fabienne" userId="d3b93ce2-b4f2-4ea8-90dc-56594dbc3f3f" providerId="ADAL" clId="{299911BD-9083-418C-BF2F-6352EC602B55}" dt="2021-06-30T16:31:33.816" v="5508" actId="1076"/>
          <ac:picMkLst>
            <pc:docMk/>
            <pc:sldMk cId="2093075270" sldId="11270"/>
            <ac:picMk id="12" creationId="{A2AF0DCD-C90B-49D8-A382-B97C8C1E2F32}"/>
          </ac:picMkLst>
        </pc:picChg>
        <pc:picChg chg="add">
          <ac:chgData name="CAUSSIDOU, Fabienne" userId="d3b93ce2-b4f2-4ea8-90dc-56594dbc3f3f" providerId="ADAL" clId="{299911BD-9083-418C-BF2F-6352EC602B55}" dt="2021-06-30T16:31:37.702" v="5509"/>
          <ac:picMkLst>
            <pc:docMk/>
            <pc:sldMk cId="2093075270" sldId="11270"/>
            <ac:picMk id="13" creationId="{513F2549-39E5-4C21-BFE6-429BA28CB1F2}"/>
          </ac:picMkLst>
        </pc:picChg>
        <pc:cxnChg chg="del">
          <ac:chgData name="CAUSSIDOU, Fabienne" userId="d3b93ce2-b4f2-4ea8-90dc-56594dbc3f3f" providerId="ADAL" clId="{299911BD-9083-418C-BF2F-6352EC602B55}" dt="2021-06-30T16:16:44.127" v="5368" actId="478"/>
          <ac:cxnSpMkLst>
            <pc:docMk/>
            <pc:sldMk cId="2093075270" sldId="11270"/>
            <ac:cxnSpMk id="7" creationId="{86D2F837-8373-47CA-8258-50ACD9886954}"/>
          </ac:cxnSpMkLst>
        </pc:cxnChg>
      </pc:sldChg>
      <pc:sldChg chg="addSp delSp modSp add">
        <pc:chgData name="CAUSSIDOU, Fabienne" userId="d3b93ce2-b4f2-4ea8-90dc-56594dbc3f3f" providerId="ADAL" clId="{299911BD-9083-418C-BF2F-6352EC602B55}" dt="2021-07-06T16:20:41.154" v="8157" actId="20577"/>
        <pc:sldMkLst>
          <pc:docMk/>
          <pc:sldMk cId="99241296" sldId="11271"/>
        </pc:sldMkLst>
        <pc:spChg chg="mod">
          <ac:chgData name="CAUSSIDOU, Fabienne" userId="d3b93ce2-b4f2-4ea8-90dc-56594dbc3f3f" providerId="ADAL" clId="{299911BD-9083-418C-BF2F-6352EC602B55}" dt="2021-06-30T16:17:01.454" v="5371"/>
          <ac:spMkLst>
            <pc:docMk/>
            <pc:sldMk cId="99241296" sldId="11271"/>
            <ac:spMk id="2" creationId="{A7DF3219-2F78-4ED7-A026-C93C48279065}"/>
          </ac:spMkLst>
        </pc:spChg>
        <pc:spChg chg="add del">
          <ac:chgData name="CAUSSIDOU, Fabienne" userId="d3b93ce2-b4f2-4ea8-90dc-56594dbc3f3f" providerId="ADAL" clId="{299911BD-9083-418C-BF2F-6352EC602B55}" dt="2021-06-30T16:27:48.344" v="5488" actId="478"/>
          <ac:spMkLst>
            <pc:docMk/>
            <pc:sldMk cId="99241296" sldId="11271"/>
            <ac:spMk id="4" creationId="{29955ECB-D2A9-4B79-853D-74100EBEB969}"/>
          </ac:spMkLst>
        </pc:spChg>
        <pc:spChg chg="add mod">
          <ac:chgData name="CAUSSIDOU, Fabienne" userId="d3b93ce2-b4f2-4ea8-90dc-56594dbc3f3f" providerId="ADAL" clId="{299911BD-9083-418C-BF2F-6352EC602B55}" dt="2021-07-06T16:20:41.154" v="8157" actId="20577"/>
          <ac:spMkLst>
            <pc:docMk/>
            <pc:sldMk cId="99241296" sldId="11271"/>
            <ac:spMk id="7" creationId="{A47F18DF-B235-40D1-9919-7F1395C030DE}"/>
          </ac:spMkLst>
        </pc:spChg>
        <pc:spChg chg="del">
          <ac:chgData name="CAUSSIDOU, Fabienne" userId="d3b93ce2-b4f2-4ea8-90dc-56594dbc3f3f" providerId="ADAL" clId="{299911BD-9083-418C-BF2F-6352EC602B55}" dt="2021-06-30T16:27:44.980" v="5487" actId="478"/>
          <ac:spMkLst>
            <pc:docMk/>
            <pc:sldMk cId="99241296" sldId="11271"/>
            <ac:spMk id="10" creationId="{AB42D58C-427B-4A7D-90C7-19E38DFB8CD3}"/>
          </ac:spMkLst>
        </pc:spChg>
        <pc:picChg chg="add del mod">
          <ac:chgData name="CAUSSIDOU, Fabienne" userId="d3b93ce2-b4f2-4ea8-90dc-56594dbc3f3f" providerId="ADAL" clId="{299911BD-9083-418C-BF2F-6352EC602B55}" dt="2021-06-30T16:29:31.231" v="5494" actId="478"/>
          <ac:picMkLst>
            <pc:docMk/>
            <pc:sldMk cId="99241296" sldId="11271"/>
            <ac:picMk id="5" creationId="{9F5337D9-C2CC-4DE4-B219-F5C382D0BDF1}"/>
          </ac:picMkLst>
        </pc:picChg>
        <pc:picChg chg="add mod">
          <ac:chgData name="CAUSSIDOU, Fabienne" userId="d3b93ce2-b4f2-4ea8-90dc-56594dbc3f3f" providerId="ADAL" clId="{299911BD-9083-418C-BF2F-6352EC602B55}" dt="2021-06-30T16:29:35.062" v="5496" actId="1076"/>
          <ac:picMkLst>
            <pc:docMk/>
            <pc:sldMk cId="99241296" sldId="11271"/>
            <ac:picMk id="6" creationId="{93BFD55D-A445-49CC-B52D-4F81AA935146}"/>
          </ac:picMkLst>
        </pc:picChg>
        <pc:picChg chg="add mod">
          <ac:chgData name="CAUSSIDOU, Fabienne" userId="d3b93ce2-b4f2-4ea8-90dc-56594dbc3f3f" providerId="ADAL" clId="{299911BD-9083-418C-BF2F-6352EC602B55}" dt="2021-06-30T16:30:23.460" v="5498" actId="1076"/>
          <ac:picMkLst>
            <pc:docMk/>
            <pc:sldMk cId="99241296" sldId="11271"/>
            <ac:picMk id="8" creationId="{F38B5D87-A966-407C-B6BF-BF4839543511}"/>
          </ac:picMkLst>
        </pc:picChg>
      </pc:sldChg>
      <pc:sldChg chg="addSp delSp modSp add">
        <pc:chgData name="CAUSSIDOU, Fabienne" userId="d3b93ce2-b4f2-4ea8-90dc-56594dbc3f3f" providerId="ADAL" clId="{299911BD-9083-418C-BF2F-6352EC602B55}" dt="2021-07-06T16:31:03.551" v="8669" actId="478"/>
        <pc:sldMkLst>
          <pc:docMk/>
          <pc:sldMk cId="2696362976" sldId="11272"/>
        </pc:sldMkLst>
        <pc:spChg chg="mod">
          <ac:chgData name="CAUSSIDOU, Fabienne" userId="d3b93ce2-b4f2-4ea8-90dc-56594dbc3f3f" providerId="ADAL" clId="{299911BD-9083-418C-BF2F-6352EC602B55}" dt="2021-06-30T16:17:39.019" v="5374"/>
          <ac:spMkLst>
            <pc:docMk/>
            <pc:sldMk cId="2696362976" sldId="11272"/>
            <ac:spMk id="2" creationId="{A7DF3219-2F78-4ED7-A026-C93C48279065}"/>
          </ac:spMkLst>
        </pc:spChg>
        <pc:spChg chg="del">
          <ac:chgData name="CAUSSIDOU, Fabienne" userId="d3b93ce2-b4f2-4ea8-90dc-56594dbc3f3f" providerId="ADAL" clId="{299911BD-9083-418C-BF2F-6352EC602B55}" dt="2021-06-30T16:17:42.865" v="5375" actId="478"/>
          <ac:spMkLst>
            <pc:docMk/>
            <pc:sldMk cId="2696362976" sldId="11272"/>
            <ac:spMk id="4" creationId="{29955ECB-D2A9-4B79-853D-74100EBEB969}"/>
          </ac:spMkLst>
        </pc:spChg>
        <pc:spChg chg="add mod">
          <ac:chgData name="CAUSSIDOU, Fabienne" userId="d3b93ce2-b4f2-4ea8-90dc-56594dbc3f3f" providerId="ADAL" clId="{299911BD-9083-418C-BF2F-6352EC602B55}" dt="2021-07-06T16:30:55.893" v="8668" actId="14100"/>
          <ac:spMkLst>
            <pc:docMk/>
            <pc:sldMk cId="2696362976" sldId="11272"/>
            <ac:spMk id="8" creationId="{5962016B-913F-49C9-B719-7E3A3476E87A}"/>
          </ac:spMkLst>
        </pc:spChg>
        <pc:spChg chg="del">
          <ac:chgData name="CAUSSIDOU, Fabienne" userId="d3b93ce2-b4f2-4ea8-90dc-56594dbc3f3f" providerId="ADAL" clId="{299911BD-9083-418C-BF2F-6352EC602B55}" dt="2021-06-30T16:31:24.317" v="5502" actId="478"/>
          <ac:spMkLst>
            <pc:docMk/>
            <pc:sldMk cId="2696362976" sldId="11272"/>
            <ac:spMk id="10" creationId="{AB42D58C-427B-4A7D-90C7-19E38DFB8CD3}"/>
          </ac:spMkLst>
        </pc:spChg>
        <pc:spChg chg="add del mod">
          <ac:chgData name="CAUSSIDOU, Fabienne" userId="d3b93ce2-b4f2-4ea8-90dc-56594dbc3f3f" providerId="ADAL" clId="{299911BD-9083-418C-BF2F-6352EC602B55}" dt="2021-07-06T16:30:30.722" v="8661" actId="478"/>
          <ac:spMkLst>
            <pc:docMk/>
            <pc:sldMk cId="2696362976" sldId="11272"/>
            <ac:spMk id="11" creationId="{E21382F5-DBAC-40C3-9E22-83BF99D2ED7A}"/>
          </ac:spMkLst>
        </pc:spChg>
        <pc:picChg chg="add del">
          <ac:chgData name="CAUSSIDOU, Fabienne" userId="d3b93ce2-b4f2-4ea8-90dc-56594dbc3f3f" providerId="ADAL" clId="{299911BD-9083-418C-BF2F-6352EC602B55}" dt="2021-06-30T16:31:25.788" v="5503"/>
          <ac:picMkLst>
            <pc:docMk/>
            <pc:sldMk cId="2696362976" sldId="11272"/>
            <ac:picMk id="5" creationId="{A1760D3F-4F65-4204-8307-D95E228ED40D}"/>
          </ac:picMkLst>
        </pc:picChg>
        <pc:picChg chg="add del mod">
          <ac:chgData name="CAUSSIDOU, Fabienne" userId="d3b93ce2-b4f2-4ea8-90dc-56594dbc3f3f" providerId="ADAL" clId="{299911BD-9083-418C-BF2F-6352EC602B55}" dt="2021-07-06T16:31:03.551" v="8669" actId="478"/>
          <ac:picMkLst>
            <pc:docMk/>
            <pc:sldMk cId="2696362976" sldId="11272"/>
            <ac:picMk id="6" creationId="{C605B9C0-0C0F-49D7-A199-C624A1390FDE}"/>
          </ac:picMkLst>
        </pc:picChg>
        <pc:picChg chg="add">
          <ac:chgData name="CAUSSIDOU, Fabienne" userId="d3b93ce2-b4f2-4ea8-90dc-56594dbc3f3f" providerId="ADAL" clId="{299911BD-9083-418C-BF2F-6352EC602B55}" dt="2021-06-30T16:34:51.705" v="5807"/>
          <ac:picMkLst>
            <pc:docMk/>
            <pc:sldMk cId="2696362976" sldId="11272"/>
            <ac:picMk id="12" creationId="{D7E0977B-5545-4E96-AB03-A135DF754302}"/>
          </ac:picMkLst>
        </pc:picChg>
      </pc:sldChg>
      <pc:sldChg chg="modSp add">
        <pc:chgData name="CAUSSIDOU, Fabienne" userId="d3b93ce2-b4f2-4ea8-90dc-56594dbc3f3f" providerId="ADAL" clId="{299911BD-9083-418C-BF2F-6352EC602B55}" dt="2021-06-30T16:22:59.927" v="5484" actId="20577"/>
        <pc:sldMkLst>
          <pc:docMk/>
          <pc:sldMk cId="957610004" sldId="11273"/>
        </pc:sldMkLst>
        <pc:spChg chg="mod">
          <ac:chgData name="CAUSSIDOU, Fabienne" userId="d3b93ce2-b4f2-4ea8-90dc-56594dbc3f3f" providerId="ADAL" clId="{299911BD-9083-418C-BF2F-6352EC602B55}" dt="2021-06-30T16:22:59.927" v="5484" actId="20577"/>
          <ac:spMkLst>
            <pc:docMk/>
            <pc:sldMk cId="957610004" sldId="11273"/>
            <ac:spMk id="2" creationId="{BF2CA779-8850-43E8-B0D8-47FE7A773A70}"/>
          </ac:spMkLst>
        </pc:spChg>
      </pc:sldChg>
      <pc:sldChg chg="addSp modSp add">
        <pc:chgData name="CAUSSIDOU, Fabienne" userId="d3b93ce2-b4f2-4ea8-90dc-56594dbc3f3f" providerId="ADAL" clId="{299911BD-9083-418C-BF2F-6352EC602B55}" dt="2021-07-06T16:34:00.355" v="8713" actId="1076"/>
        <pc:sldMkLst>
          <pc:docMk/>
          <pc:sldMk cId="3005807625" sldId="11274"/>
        </pc:sldMkLst>
        <pc:spChg chg="mod">
          <ac:chgData name="CAUSSIDOU, Fabienne" userId="d3b93ce2-b4f2-4ea8-90dc-56594dbc3f3f" providerId="ADAL" clId="{299911BD-9083-418C-BF2F-6352EC602B55}" dt="2021-06-30T16:59:59.801" v="5879" actId="207"/>
          <ac:spMkLst>
            <pc:docMk/>
            <pc:sldMk cId="3005807625" sldId="11274"/>
            <ac:spMk id="2" creationId="{00000000-0000-0000-0000-000000000000}"/>
          </ac:spMkLst>
        </pc:spChg>
        <pc:spChg chg="add mod">
          <ac:chgData name="CAUSSIDOU, Fabienne" userId="d3b93ce2-b4f2-4ea8-90dc-56594dbc3f3f" providerId="ADAL" clId="{299911BD-9083-418C-BF2F-6352EC602B55}" dt="2021-07-06T16:34:00.355" v="8713" actId="1076"/>
          <ac:spMkLst>
            <pc:docMk/>
            <pc:sldMk cId="3005807625" sldId="11274"/>
            <ac:spMk id="3" creationId="{FE65991F-821B-45E3-ABAA-DD7EF560E916}"/>
          </ac:spMkLst>
        </pc:spChg>
        <pc:picChg chg="add">
          <ac:chgData name="CAUSSIDOU, Fabienne" userId="d3b93ce2-b4f2-4ea8-90dc-56594dbc3f3f" providerId="ADAL" clId="{299911BD-9083-418C-BF2F-6352EC602B55}" dt="2021-07-01T09:26:16.847" v="7100"/>
          <ac:picMkLst>
            <pc:docMk/>
            <pc:sldMk cId="3005807625" sldId="11274"/>
            <ac:picMk id="8" creationId="{AC730F83-5629-495B-A00F-A8F5DF9DFEB4}"/>
          </ac:picMkLst>
        </pc:picChg>
      </pc:sldChg>
      <pc:sldChg chg="addSp delSp modSp add">
        <pc:chgData name="CAUSSIDOU, Fabienne" userId="d3b93ce2-b4f2-4ea8-90dc-56594dbc3f3f" providerId="ADAL" clId="{299911BD-9083-418C-BF2F-6352EC602B55}" dt="2021-06-30T17:04:20.932" v="5888"/>
        <pc:sldMkLst>
          <pc:docMk/>
          <pc:sldMk cId="2052529446" sldId="11275"/>
        </pc:sldMkLst>
        <pc:spChg chg="mod">
          <ac:chgData name="CAUSSIDOU, Fabienne" userId="d3b93ce2-b4f2-4ea8-90dc-56594dbc3f3f" providerId="ADAL" clId="{299911BD-9083-418C-BF2F-6352EC602B55}" dt="2021-06-30T17:04:20.932" v="5888"/>
          <ac:spMkLst>
            <pc:docMk/>
            <pc:sldMk cId="2052529446" sldId="11275"/>
            <ac:spMk id="2" creationId="{A7DF3219-2F78-4ED7-A026-C93C48279065}"/>
          </ac:spMkLst>
        </pc:spChg>
        <pc:picChg chg="add del">
          <ac:chgData name="CAUSSIDOU, Fabienne" userId="d3b93ce2-b4f2-4ea8-90dc-56594dbc3f3f" providerId="ADAL" clId="{299911BD-9083-418C-BF2F-6352EC602B55}" dt="2021-06-30T17:02:32.035" v="5885" actId="478"/>
          <ac:picMkLst>
            <pc:docMk/>
            <pc:sldMk cId="2052529446" sldId="11275"/>
            <ac:picMk id="4" creationId="{F22051C7-4A1C-4D44-A9FA-901BD3896AE1}"/>
          </ac:picMkLst>
        </pc:picChg>
        <pc:picChg chg="add mod">
          <ac:chgData name="CAUSSIDOU, Fabienne" userId="d3b93ce2-b4f2-4ea8-90dc-56594dbc3f3f" providerId="ADAL" clId="{299911BD-9083-418C-BF2F-6352EC602B55}" dt="2021-06-30T17:04:10.810" v="5887" actId="1076"/>
          <ac:picMkLst>
            <pc:docMk/>
            <pc:sldMk cId="2052529446" sldId="11275"/>
            <ac:picMk id="5" creationId="{EF76D15D-AA5C-4594-BCDC-3BDF116F1250}"/>
          </ac:picMkLst>
        </pc:picChg>
        <pc:picChg chg="del">
          <ac:chgData name="CAUSSIDOU, Fabienne" userId="d3b93ce2-b4f2-4ea8-90dc-56594dbc3f3f" providerId="ADAL" clId="{299911BD-9083-418C-BF2F-6352EC602B55}" dt="2021-06-30T17:00:14.690" v="5882" actId="478"/>
          <ac:picMkLst>
            <pc:docMk/>
            <pc:sldMk cId="2052529446" sldId="11275"/>
            <ac:picMk id="12" creationId="{A2AF0DCD-C90B-49D8-A382-B97C8C1E2F32}"/>
          </ac:picMkLst>
        </pc:picChg>
        <pc:picChg chg="del">
          <ac:chgData name="CAUSSIDOU, Fabienne" userId="d3b93ce2-b4f2-4ea8-90dc-56594dbc3f3f" providerId="ADAL" clId="{299911BD-9083-418C-BF2F-6352EC602B55}" dt="2021-06-30T17:00:15.884" v="5883" actId="478"/>
          <ac:picMkLst>
            <pc:docMk/>
            <pc:sldMk cId="2052529446" sldId="11275"/>
            <ac:picMk id="13" creationId="{513F2549-39E5-4C21-BFE6-429BA28CB1F2}"/>
          </ac:picMkLst>
        </pc:picChg>
      </pc:sldChg>
      <pc:sldChg chg="addSp delSp modSp add del">
        <pc:chgData name="CAUSSIDOU, Fabienne" userId="d3b93ce2-b4f2-4ea8-90dc-56594dbc3f3f" providerId="ADAL" clId="{299911BD-9083-418C-BF2F-6352EC602B55}" dt="2021-07-06T16:32:49.933" v="8696" actId="2696"/>
        <pc:sldMkLst>
          <pc:docMk/>
          <pc:sldMk cId="3190581975" sldId="11276"/>
        </pc:sldMkLst>
        <pc:spChg chg="mod">
          <ac:chgData name="CAUSSIDOU, Fabienne" userId="d3b93ce2-b4f2-4ea8-90dc-56594dbc3f3f" providerId="ADAL" clId="{299911BD-9083-418C-BF2F-6352EC602B55}" dt="2021-06-30T17:07:30.398" v="5951" actId="20577"/>
          <ac:spMkLst>
            <pc:docMk/>
            <pc:sldMk cId="3190581975" sldId="11276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299911BD-9083-418C-BF2F-6352EC602B55}" dt="2021-07-01T09:26:05.242" v="7099" actId="20577"/>
          <ac:spMkLst>
            <pc:docMk/>
            <pc:sldMk cId="3190581975" sldId="11276"/>
            <ac:spMk id="7" creationId="{7A5110C7-0D0A-4D6E-88C9-FFA3E6618AE7}"/>
          </ac:spMkLst>
        </pc:spChg>
        <pc:picChg chg="add del mod">
          <ac:chgData name="CAUSSIDOU, Fabienne" userId="d3b93ce2-b4f2-4ea8-90dc-56594dbc3f3f" providerId="ADAL" clId="{299911BD-9083-418C-BF2F-6352EC602B55}" dt="2021-06-30T17:07:59.392" v="5955" actId="478"/>
          <ac:picMkLst>
            <pc:docMk/>
            <pc:sldMk cId="3190581975" sldId="11276"/>
            <ac:picMk id="4" creationId="{62E317C5-6C73-4A84-896F-3DBB9688230B}"/>
          </ac:picMkLst>
        </pc:picChg>
        <pc:picChg chg="del">
          <ac:chgData name="CAUSSIDOU, Fabienne" userId="d3b93ce2-b4f2-4ea8-90dc-56594dbc3f3f" providerId="ADAL" clId="{299911BD-9083-418C-BF2F-6352EC602B55}" dt="2021-06-30T17:07:08.189" v="5890" actId="478"/>
          <ac:picMkLst>
            <pc:docMk/>
            <pc:sldMk cId="3190581975" sldId="11276"/>
            <ac:picMk id="5" creationId="{EF76D15D-AA5C-4594-BCDC-3BDF116F1250}"/>
          </ac:picMkLst>
        </pc:picChg>
        <pc:picChg chg="add mod">
          <ac:chgData name="CAUSSIDOU, Fabienne" userId="d3b93ce2-b4f2-4ea8-90dc-56594dbc3f3f" providerId="ADAL" clId="{299911BD-9083-418C-BF2F-6352EC602B55}" dt="2021-06-30T17:08:03.769" v="5957" actId="1076"/>
          <ac:picMkLst>
            <pc:docMk/>
            <pc:sldMk cId="3190581975" sldId="11276"/>
            <ac:picMk id="6" creationId="{0D80B962-D33F-482F-AC35-D5E284567373}"/>
          </ac:picMkLst>
        </pc:picChg>
      </pc:sldChg>
      <pc:sldChg chg="addSp delSp modSp add ord">
        <pc:chgData name="CAUSSIDOU, Fabienne" userId="d3b93ce2-b4f2-4ea8-90dc-56594dbc3f3f" providerId="ADAL" clId="{299911BD-9083-418C-BF2F-6352EC602B55}" dt="2021-07-06T16:30:43.646" v="8666" actId="20577"/>
        <pc:sldMkLst>
          <pc:docMk/>
          <pc:sldMk cId="2792039495" sldId="11277"/>
        </pc:sldMkLst>
        <pc:spChg chg="del mod">
          <ac:chgData name="CAUSSIDOU, Fabienne" userId="d3b93ce2-b4f2-4ea8-90dc-56594dbc3f3f" providerId="ADAL" clId="{299911BD-9083-418C-BF2F-6352EC602B55}" dt="2021-07-06T16:26:02.703" v="8268" actId="478"/>
          <ac:spMkLst>
            <pc:docMk/>
            <pc:sldMk cId="2792039495" sldId="11277"/>
            <ac:spMk id="2" creationId="{2E7C573B-750B-4FD4-B8CE-AB955A21BB24}"/>
          </ac:spMkLst>
        </pc:spChg>
        <pc:spChg chg="mod">
          <ac:chgData name="CAUSSIDOU, Fabienne" userId="d3b93ce2-b4f2-4ea8-90dc-56594dbc3f3f" providerId="ADAL" clId="{299911BD-9083-418C-BF2F-6352EC602B55}" dt="2021-07-06T16:30:43.646" v="8666" actId="20577"/>
          <ac:spMkLst>
            <pc:docMk/>
            <pc:sldMk cId="2792039495" sldId="11277"/>
            <ac:spMk id="5" creationId="{2D24385A-A44C-49AA-B52B-EC74C2C0C4B8}"/>
          </ac:spMkLst>
        </pc:spChg>
        <pc:spChg chg="add del mod">
          <ac:chgData name="CAUSSIDOU, Fabienne" userId="d3b93ce2-b4f2-4ea8-90dc-56594dbc3f3f" providerId="ADAL" clId="{299911BD-9083-418C-BF2F-6352EC602B55}" dt="2021-07-06T16:26:08.418" v="8270" actId="478"/>
          <ac:spMkLst>
            <pc:docMk/>
            <pc:sldMk cId="2792039495" sldId="11277"/>
            <ac:spMk id="6" creationId="{737AA138-7C52-4115-A9A6-289FC98DC532}"/>
          </ac:spMkLst>
        </pc:spChg>
        <pc:spChg chg="add mod">
          <ac:chgData name="CAUSSIDOU, Fabienne" userId="d3b93ce2-b4f2-4ea8-90dc-56594dbc3f3f" providerId="ADAL" clId="{299911BD-9083-418C-BF2F-6352EC602B55}" dt="2021-07-06T16:26:11.882" v="8272" actId="20577"/>
          <ac:spMkLst>
            <pc:docMk/>
            <pc:sldMk cId="2792039495" sldId="11277"/>
            <ac:spMk id="7" creationId="{C38F8AF4-82A5-4D67-819A-6993E7D4AE43}"/>
          </ac:spMkLst>
        </pc:spChg>
      </pc:sldChg>
    </pc:docChg>
  </pc:docChgLst>
  <pc:docChgLst>
    <pc:chgData name="CAUSSIDOU, Fabienne" userId="d3b93ce2-b4f2-4ea8-90dc-56594dbc3f3f" providerId="ADAL" clId="{17BD85FD-4151-46F1-9C58-29CB093F602F}"/>
    <pc:docChg chg="undo redo custSel addSld modSld">
      <pc:chgData name="CAUSSIDOU, Fabienne" userId="d3b93ce2-b4f2-4ea8-90dc-56594dbc3f3f" providerId="ADAL" clId="{17BD85FD-4151-46F1-9C58-29CB093F602F}" dt="2021-09-06T16:48:21.027" v="2367" actId="20577"/>
      <pc:docMkLst>
        <pc:docMk/>
      </pc:docMkLst>
      <pc:sldChg chg="delSp modSp add">
        <pc:chgData name="CAUSSIDOU, Fabienne" userId="d3b93ce2-b4f2-4ea8-90dc-56594dbc3f3f" providerId="ADAL" clId="{17BD85FD-4151-46F1-9C58-29CB093F602F}" dt="2021-09-06T16:48:21.027" v="2367" actId="20577"/>
        <pc:sldMkLst>
          <pc:docMk/>
          <pc:sldMk cId="1751578126" sldId="10890"/>
        </pc:sldMkLst>
        <pc:spChg chg="mod">
          <ac:chgData name="CAUSSIDOU, Fabienne" userId="d3b93ce2-b4f2-4ea8-90dc-56594dbc3f3f" providerId="ADAL" clId="{17BD85FD-4151-46F1-9C58-29CB093F602F}" dt="2021-09-06T15:58:24.629" v="1965" actId="20577"/>
          <ac:spMkLst>
            <pc:docMk/>
            <pc:sldMk cId="1751578126" sldId="10890"/>
            <ac:spMk id="2" creationId="{2E7C573B-750B-4FD4-B8CE-AB955A21BB24}"/>
          </ac:spMkLst>
        </pc:spChg>
        <pc:spChg chg="mod">
          <ac:chgData name="CAUSSIDOU, Fabienne" userId="d3b93ce2-b4f2-4ea8-90dc-56594dbc3f3f" providerId="ADAL" clId="{17BD85FD-4151-46F1-9C58-29CB093F602F}" dt="2021-09-06T16:48:21.027" v="2367" actId="20577"/>
          <ac:spMkLst>
            <pc:docMk/>
            <pc:sldMk cId="1751578126" sldId="10890"/>
            <ac:spMk id="5" creationId="{2D24385A-A44C-49AA-B52B-EC74C2C0C4B8}"/>
          </ac:spMkLst>
        </pc:spChg>
        <pc:spChg chg="del">
          <ac:chgData name="CAUSSIDOU, Fabienne" userId="d3b93ce2-b4f2-4ea8-90dc-56594dbc3f3f" providerId="ADAL" clId="{17BD85FD-4151-46F1-9C58-29CB093F602F}" dt="2021-09-03T14:48:21.119" v="674" actId="478"/>
          <ac:spMkLst>
            <pc:docMk/>
            <pc:sldMk cId="1751578126" sldId="10890"/>
            <ac:spMk id="8" creationId="{12E25BCB-52C4-4A5A-ABA4-9E4404936A23}"/>
          </ac:spMkLst>
        </pc:spChg>
        <pc:spChg chg="del">
          <ac:chgData name="CAUSSIDOU, Fabienne" userId="d3b93ce2-b4f2-4ea8-90dc-56594dbc3f3f" providerId="ADAL" clId="{17BD85FD-4151-46F1-9C58-29CB093F602F}" dt="2021-09-03T14:48:23.058" v="675" actId="478"/>
          <ac:spMkLst>
            <pc:docMk/>
            <pc:sldMk cId="1751578126" sldId="10890"/>
            <ac:spMk id="9" creationId="{D86167E1-AE9F-4C1D-A9BA-F4F173E13020}"/>
          </ac:spMkLst>
        </pc:spChg>
        <pc:spChg chg="del mod">
          <ac:chgData name="CAUSSIDOU, Fabienne" userId="d3b93ce2-b4f2-4ea8-90dc-56594dbc3f3f" providerId="ADAL" clId="{17BD85FD-4151-46F1-9C58-29CB093F602F}" dt="2021-09-03T14:48:24.690" v="677" actId="478"/>
          <ac:spMkLst>
            <pc:docMk/>
            <pc:sldMk cId="1751578126" sldId="10890"/>
            <ac:spMk id="10" creationId="{3BF396ED-AFCA-4E2F-875A-101481800A73}"/>
          </ac:spMkLst>
        </pc:spChg>
      </pc:sldChg>
      <pc:sldChg chg="modSp">
        <pc:chgData name="CAUSSIDOU, Fabienne" userId="d3b93ce2-b4f2-4ea8-90dc-56594dbc3f3f" providerId="ADAL" clId="{17BD85FD-4151-46F1-9C58-29CB093F602F}" dt="2021-09-03T14:40:30.856" v="28" actId="20577"/>
        <pc:sldMkLst>
          <pc:docMk/>
          <pc:sldMk cId="4157059696" sldId="11278"/>
        </pc:sldMkLst>
        <pc:spChg chg="mod">
          <ac:chgData name="CAUSSIDOU, Fabienne" userId="d3b93ce2-b4f2-4ea8-90dc-56594dbc3f3f" providerId="ADAL" clId="{17BD85FD-4151-46F1-9C58-29CB093F602F}" dt="2021-09-03T14:40:21.231" v="19" actId="20577"/>
          <ac:spMkLst>
            <pc:docMk/>
            <pc:sldMk cId="4157059696" sldId="11278"/>
            <ac:spMk id="2" creationId="{15A27901-FBC1-4867-900D-E3319FAD2C86}"/>
          </ac:spMkLst>
        </pc:spChg>
        <pc:spChg chg="mod">
          <ac:chgData name="CAUSSIDOU, Fabienne" userId="d3b93ce2-b4f2-4ea8-90dc-56594dbc3f3f" providerId="ADAL" clId="{17BD85FD-4151-46F1-9C58-29CB093F602F}" dt="2021-09-03T14:40:30.856" v="28" actId="20577"/>
          <ac:spMkLst>
            <pc:docMk/>
            <pc:sldMk cId="4157059696" sldId="11278"/>
            <ac:spMk id="11" creationId="{B8AC72BC-6A1A-4606-AA4E-67F218BE048E}"/>
          </ac:spMkLst>
        </pc:spChg>
      </pc:sldChg>
      <pc:sldChg chg="addSp delSp modSp">
        <pc:chgData name="CAUSSIDOU, Fabienne" userId="d3b93ce2-b4f2-4ea8-90dc-56594dbc3f3f" providerId="ADAL" clId="{17BD85FD-4151-46F1-9C58-29CB093F602F}" dt="2021-09-06T15:51:57.826" v="1662"/>
        <pc:sldMkLst>
          <pc:docMk/>
          <pc:sldMk cId="501862983" sldId="11279"/>
        </pc:sldMkLst>
        <pc:spChg chg="mod">
          <ac:chgData name="CAUSSIDOU, Fabienne" userId="d3b93ce2-b4f2-4ea8-90dc-56594dbc3f3f" providerId="ADAL" clId="{17BD85FD-4151-46F1-9C58-29CB093F602F}" dt="2021-09-03T14:53:55.306" v="928" actId="20577"/>
          <ac:spMkLst>
            <pc:docMk/>
            <pc:sldMk cId="501862983" sldId="11279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17BD85FD-4151-46F1-9C58-29CB093F602F}" dt="2021-09-03T15:26:23.112" v="1452" actId="115"/>
          <ac:spMkLst>
            <pc:docMk/>
            <pc:sldMk cId="501862983" sldId="11279"/>
            <ac:spMk id="3" creationId="{661AF64D-D1C1-44D5-BE12-884C8FA29EA1}"/>
          </ac:spMkLst>
        </pc:spChg>
        <pc:spChg chg="add mod">
          <ac:chgData name="CAUSSIDOU, Fabienne" userId="d3b93ce2-b4f2-4ea8-90dc-56594dbc3f3f" providerId="ADAL" clId="{17BD85FD-4151-46F1-9C58-29CB093F602F}" dt="2021-09-03T14:57:26.904" v="1155" actId="1076"/>
          <ac:spMkLst>
            <pc:docMk/>
            <pc:sldMk cId="501862983" sldId="11279"/>
            <ac:spMk id="4" creationId="{D9E9E4AD-0B6C-4390-91B9-1D69824B7F4B}"/>
          </ac:spMkLst>
        </pc:spChg>
        <pc:spChg chg="del">
          <ac:chgData name="CAUSSIDOU, Fabienne" userId="d3b93ce2-b4f2-4ea8-90dc-56594dbc3f3f" providerId="ADAL" clId="{17BD85FD-4151-46F1-9C58-29CB093F602F}" dt="2021-09-03T14:40:46.454" v="31" actId="478"/>
          <ac:spMkLst>
            <pc:docMk/>
            <pc:sldMk cId="501862983" sldId="11279"/>
            <ac:spMk id="18" creationId="{7762A978-E248-4404-98FE-12092CB26377}"/>
          </ac:spMkLst>
        </pc:spChg>
        <pc:spChg chg="del">
          <ac:chgData name="CAUSSIDOU, Fabienne" userId="d3b93ce2-b4f2-4ea8-90dc-56594dbc3f3f" providerId="ADAL" clId="{17BD85FD-4151-46F1-9C58-29CB093F602F}" dt="2021-09-03T14:40:46.454" v="31" actId="478"/>
          <ac:spMkLst>
            <pc:docMk/>
            <pc:sldMk cId="501862983" sldId="11279"/>
            <ac:spMk id="23" creationId="{E980993A-21AE-4040-9AEB-D2A6E48494CE}"/>
          </ac:spMkLst>
        </pc:spChg>
        <pc:spChg chg="del">
          <ac:chgData name="CAUSSIDOU, Fabienne" userId="d3b93ce2-b4f2-4ea8-90dc-56594dbc3f3f" providerId="ADAL" clId="{17BD85FD-4151-46F1-9C58-29CB093F602F}" dt="2021-09-03T14:41:00.216" v="34" actId="478"/>
          <ac:spMkLst>
            <pc:docMk/>
            <pc:sldMk cId="501862983" sldId="11279"/>
            <ac:spMk id="65" creationId="{8CA6E504-B74B-4227-8CA8-A31F9E9B2B71}"/>
          </ac:spMkLst>
        </pc:spChg>
        <pc:spChg chg="add mod">
          <ac:chgData name="CAUSSIDOU, Fabienne" userId="d3b93ce2-b4f2-4ea8-90dc-56594dbc3f3f" providerId="ADAL" clId="{17BD85FD-4151-46F1-9C58-29CB093F602F}" dt="2021-09-03T14:57:23.334" v="1154" actId="1076"/>
          <ac:spMkLst>
            <pc:docMk/>
            <pc:sldMk cId="501862983" sldId="11279"/>
            <ac:spMk id="69" creationId="{79AC9BD6-87DF-4747-B60F-B0A7E22967EF}"/>
          </ac:spMkLst>
        </pc:spChg>
        <pc:spChg chg="add mod">
          <ac:chgData name="CAUSSIDOU, Fabienne" userId="d3b93ce2-b4f2-4ea8-90dc-56594dbc3f3f" providerId="ADAL" clId="{17BD85FD-4151-46F1-9C58-29CB093F602F}" dt="2021-09-06T15:51:57.826" v="1662"/>
          <ac:spMkLst>
            <pc:docMk/>
            <pc:sldMk cId="501862983" sldId="11279"/>
            <ac:spMk id="70" creationId="{EC3720FE-FFAE-42B2-8725-205DD6CD6BE9}"/>
          </ac:spMkLst>
        </pc:s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1" creationId="{18C02EB4-7994-4DF6-9CF7-AA94A1C9C20C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3" creationId="{189F23A3-74F6-468C-AE19-966A9176F767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4" creationId="{8F9F6AA0-480F-4A9A-ABAB-AE79A61E7871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5" creationId="{2FE8F665-C55E-45DE-A163-80031E0C305D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6" creationId="{FAB29ADB-9FFF-4996-9292-F1AEBB27434E}"/>
          </ac:grpSpMkLst>
        </pc:grpChg>
        <pc:grpChg chg="del mod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7" creationId="{2B068273-2484-4AC3-BB4D-5AEA29D7B58C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19" creationId="{0A068086-FB1C-44E8-8E98-20260EEFBF65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20" creationId="{3004B268-93F4-43C5-B223-C903A2841A98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21" creationId="{559AC1DE-BDB3-4EA8-A2A4-25754D410DDB}"/>
          </ac:grpSpMkLst>
        </pc:grpChg>
        <pc:grpChg chg="del">
          <ac:chgData name="CAUSSIDOU, Fabienne" userId="d3b93ce2-b4f2-4ea8-90dc-56594dbc3f3f" providerId="ADAL" clId="{17BD85FD-4151-46F1-9C58-29CB093F602F}" dt="2021-09-03T14:40:46.454" v="31" actId="478"/>
          <ac:grpSpMkLst>
            <pc:docMk/>
            <pc:sldMk cId="501862983" sldId="11279"/>
            <ac:grpSpMk id="22" creationId="{65B043B3-C797-4517-95AD-6ABBD740421F}"/>
          </ac:grpSpMkLst>
        </pc:grpChg>
        <pc:picChg chg="add mod">
          <ac:chgData name="CAUSSIDOU, Fabienne" userId="d3b93ce2-b4f2-4ea8-90dc-56594dbc3f3f" providerId="ADAL" clId="{17BD85FD-4151-46F1-9C58-29CB093F602F}" dt="2021-09-03T14:57:20.523" v="1153" actId="1076"/>
          <ac:picMkLst>
            <pc:docMk/>
            <pc:sldMk cId="501862983" sldId="11279"/>
            <ac:picMk id="67" creationId="{ADC30D45-4505-4AAD-AF61-DBAF859C8FFF}"/>
          </ac:picMkLst>
        </pc:picChg>
        <pc:picChg chg="add del">
          <ac:chgData name="CAUSSIDOU, Fabienne" userId="d3b93ce2-b4f2-4ea8-90dc-56594dbc3f3f" providerId="ADAL" clId="{17BD85FD-4151-46F1-9C58-29CB093F602F}" dt="2021-09-03T14:56:52.414" v="1130" actId="478"/>
          <ac:picMkLst>
            <pc:docMk/>
            <pc:sldMk cId="501862983" sldId="11279"/>
            <ac:picMk id="68" creationId="{37C82319-B0EA-483C-B13E-C83CFECC75E0}"/>
          </ac:picMkLst>
        </pc:picChg>
      </pc:sldChg>
      <pc:sldChg chg="addSp delSp modSp add">
        <pc:chgData name="CAUSSIDOU, Fabienne" userId="d3b93ce2-b4f2-4ea8-90dc-56594dbc3f3f" providerId="ADAL" clId="{17BD85FD-4151-46F1-9C58-29CB093F602F}" dt="2021-09-06T16:01:25.894" v="1983" actId="6549"/>
        <pc:sldMkLst>
          <pc:docMk/>
          <pc:sldMk cId="2552688336" sldId="11280"/>
        </pc:sldMkLst>
        <pc:spChg chg="mod">
          <ac:chgData name="CAUSSIDOU, Fabienne" userId="d3b93ce2-b4f2-4ea8-90dc-56594dbc3f3f" providerId="ADAL" clId="{17BD85FD-4151-46F1-9C58-29CB093F602F}" dt="2021-09-03T15:23:36.442" v="1232" actId="20577"/>
          <ac:spMkLst>
            <pc:docMk/>
            <pc:sldMk cId="2552688336" sldId="11280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17BD85FD-4151-46F1-9C58-29CB093F602F}" dt="2021-09-03T15:25:13.221" v="1437" actId="20577"/>
          <ac:spMkLst>
            <pc:docMk/>
            <pc:sldMk cId="2552688336" sldId="11280"/>
            <ac:spMk id="7" creationId="{06C85B9C-B82B-4074-B67F-BD835A4381D3}"/>
          </ac:spMkLst>
        </pc:spChg>
        <pc:spChg chg="add mod">
          <ac:chgData name="CAUSSIDOU, Fabienne" userId="d3b93ce2-b4f2-4ea8-90dc-56594dbc3f3f" providerId="ADAL" clId="{17BD85FD-4151-46F1-9C58-29CB093F602F}" dt="2021-09-06T16:01:25.894" v="1983" actId="6549"/>
          <ac:spMkLst>
            <pc:docMk/>
            <pc:sldMk cId="2552688336" sldId="11280"/>
            <ac:spMk id="8" creationId="{BC1750B2-4BC1-43D8-B751-A7DF65EB1B46}"/>
          </ac:spMkLst>
        </pc:spChg>
        <pc:spChg chg="add del">
          <ac:chgData name="CAUSSIDOU, Fabienne" userId="d3b93ce2-b4f2-4ea8-90dc-56594dbc3f3f" providerId="ADAL" clId="{17BD85FD-4151-46F1-9C58-29CB093F602F}" dt="2021-09-03T15:25:45.187" v="1444" actId="478"/>
          <ac:spMkLst>
            <pc:docMk/>
            <pc:sldMk cId="2552688336" sldId="11280"/>
            <ac:spMk id="11" creationId="{1F36119B-EC55-4730-8677-06FE6E3118FC}"/>
          </ac:spMkLst>
        </pc:spChg>
        <pc:spChg chg="add mod">
          <ac:chgData name="CAUSSIDOU, Fabienne" userId="d3b93ce2-b4f2-4ea8-90dc-56594dbc3f3f" providerId="ADAL" clId="{17BD85FD-4151-46F1-9C58-29CB093F602F}" dt="2021-09-03T15:26:04.938" v="1450" actId="1076"/>
          <ac:spMkLst>
            <pc:docMk/>
            <pc:sldMk cId="2552688336" sldId="11280"/>
            <ac:spMk id="12" creationId="{E573AED4-4938-49B0-BEA8-40DCBFC1A89A}"/>
          </ac:spMkLst>
        </pc:spChg>
        <pc:spChg chg="add mod">
          <ac:chgData name="CAUSSIDOU, Fabienne" userId="d3b93ce2-b4f2-4ea8-90dc-56594dbc3f3f" providerId="ADAL" clId="{17BD85FD-4151-46F1-9C58-29CB093F602F}" dt="2021-09-03T15:26:10.005" v="1451" actId="1076"/>
          <ac:spMkLst>
            <pc:docMk/>
            <pc:sldMk cId="2552688336" sldId="11280"/>
            <ac:spMk id="13" creationId="{4627764F-CA84-4C3D-A94B-090DB699C7B2}"/>
          </ac:spMkLst>
        </pc:spChg>
        <pc:picChg chg="add mod">
          <ac:chgData name="CAUSSIDOU, Fabienne" userId="d3b93ce2-b4f2-4ea8-90dc-56594dbc3f3f" providerId="ADAL" clId="{17BD85FD-4151-46F1-9C58-29CB093F602F}" dt="2021-09-03T15:25:54.321" v="1446" actId="14100"/>
          <ac:picMkLst>
            <pc:docMk/>
            <pc:sldMk cId="2552688336" sldId="11280"/>
            <ac:picMk id="6" creationId="{70B8A3E4-1681-41D8-AE7B-196AF0729330}"/>
          </ac:picMkLst>
        </pc:picChg>
        <pc:picChg chg="add del">
          <ac:chgData name="CAUSSIDOU, Fabienne" userId="d3b93ce2-b4f2-4ea8-90dc-56594dbc3f3f" providerId="ADAL" clId="{17BD85FD-4151-46F1-9C58-29CB093F602F}" dt="2021-09-03T15:25:45.187" v="1444" actId="478"/>
          <ac:picMkLst>
            <pc:docMk/>
            <pc:sldMk cId="2552688336" sldId="11280"/>
            <ac:picMk id="10" creationId="{27275578-0403-4613-9073-58AC8A905442}"/>
          </ac:picMkLst>
        </pc:picChg>
        <pc:picChg chg="del">
          <ac:chgData name="CAUSSIDOU, Fabienne" userId="d3b93ce2-b4f2-4ea8-90dc-56594dbc3f3f" providerId="ADAL" clId="{17BD85FD-4151-46F1-9C58-29CB093F602F}" dt="2021-09-03T14:41:08.418" v="36" actId="478"/>
          <ac:picMkLst>
            <pc:docMk/>
            <pc:sldMk cId="2552688336" sldId="11280"/>
            <ac:picMk id="67" creationId="{ADC30D45-4505-4AAD-AF61-DBAF859C8FFF}"/>
          </ac:picMkLst>
        </pc:picChg>
      </pc:sldChg>
      <pc:sldChg chg="addSp delSp modSp add">
        <pc:chgData name="CAUSSIDOU, Fabienne" userId="d3b93ce2-b4f2-4ea8-90dc-56594dbc3f3f" providerId="ADAL" clId="{17BD85FD-4151-46F1-9C58-29CB093F602F}" dt="2021-09-06T15:58:54.349" v="1967" actId="1076"/>
        <pc:sldMkLst>
          <pc:docMk/>
          <pc:sldMk cId="2574537905" sldId="11281"/>
        </pc:sldMkLst>
        <pc:spChg chg="mod">
          <ac:chgData name="CAUSSIDOU, Fabienne" userId="d3b93ce2-b4f2-4ea8-90dc-56594dbc3f3f" providerId="ADAL" clId="{17BD85FD-4151-46F1-9C58-29CB093F602F}" dt="2021-09-03T14:50:24.720" v="844" actId="6549"/>
          <ac:spMkLst>
            <pc:docMk/>
            <pc:sldMk cId="2574537905" sldId="11281"/>
            <ac:spMk id="2" creationId="{A7DF3219-2F78-4ED7-A026-C93C48279065}"/>
          </ac:spMkLst>
        </pc:spChg>
        <pc:spChg chg="add mod">
          <ac:chgData name="CAUSSIDOU, Fabienne" userId="d3b93ce2-b4f2-4ea8-90dc-56594dbc3f3f" providerId="ADAL" clId="{17BD85FD-4151-46F1-9C58-29CB093F602F}" dt="2021-09-03T14:53:33.846" v="885" actId="20577"/>
          <ac:spMkLst>
            <pc:docMk/>
            <pc:sldMk cId="2574537905" sldId="11281"/>
            <ac:spMk id="5" creationId="{1F7E5F99-32C5-4AD6-B3EA-A8CFB013C506}"/>
          </ac:spMkLst>
        </pc:spChg>
        <pc:picChg chg="add mod">
          <ac:chgData name="CAUSSIDOU, Fabienne" userId="d3b93ce2-b4f2-4ea8-90dc-56594dbc3f3f" providerId="ADAL" clId="{17BD85FD-4151-46F1-9C58-29CB093F602F}" dt="2021-09-03T14:53:14.504" v="850" actId="1076"/>
          <ac:picMkLst>
            <pc:docMk/>
            <pc:sldMk cId="2574537905" sldId="11281"/>
            <ac:picMk id="3" creationId="{49C6A4E0-58E6-4E09-B5E0-3E98DE85FD58}"/>
          </ac:picMkLst>
        </pc:picChg>
        <pc:picChg chg="add del mod">
          <ac:chgData name="CAUSSIDOU, Fabienne" userId="d3b93ce2-b4f2-4ea8-90dc-56594dbc3f3f" providerId="ADAL" clId="{17BD85FD-4151-46F1-9C58-29CB093F602F}" dt="2021-09-06T15:43:33.425" v="1456" actId="478"/>
          <ac:picMkLst>
            <pc:docMk/>
            <pc:sldMk cId="2574537905" sldId="11281"/>
            <ac:picMk id="4" creationId="{261B74DE-CF42-4404-9AF7-4B186DE5E480}"/>
          </ac:picMkLst>
        </pc:picChg>
        <pc:picChg chg="add mod">
          <ac:chgData name="CAUSSIDOU, Fabienne" userId="d3b93ce2-b4f2-4ea8-90dc-56594dbc3f3f" providerId="ADAL" clId="{17BD85FD-4151-46F1-9C58-29CB093F602F}" dt="2021-09-06T15:58:54.349" v="1967" actId="1076"/>
          <ac:picMkLst>
            <pc:docMk/>
            <pc:sldMk cId="2574537905" sldId="11281"/>
            <ac:picMk id="6" creationId="{C190DA91-0150-476A-B459-16AE1ECA2335}"/>
          </ac:picMkLst>
        </pc:picChg>
        <pc:picChg chg="add mod">
          <ac:chgData name="CAUSSIDOU, Fabienne" userId="d3b93ce2-b4f2-4ea8-90dc-56594dbc3f3f" providerId="ADAL" clId="{17BD85FD-4151-46F1-9C58-29CB093F602F}" dt="2021-09-06T15:45:16.668" v="1460" actId="1076"/>
          <ac:picMkLst>
            <pc:docMk/>
            <pc:sldMk cId="2574537905" sldId="11281"/>
            <ac:picMk id="7" creationId="{EF6D2D9A-C07E-4844-ABD2-F5B559EC223F}"/>
          </ac:picMkLst>
        </pc:picChg>
        <pc:picChg chg="del">
          <ac:chgData name="CAUSSIDOU, Fabienne" userId="d3b93ce2-b4f2-4ea8-90dc-56594dbc3f3f" providerId="ADAL" clId="{17BD85FD-4151-46F1-9C58-29CB093F602F}" dt="2021-09-03T14:50:27.008" v="845" actId="478"/>
          <ac:picMkLst>
            <pc:docMk/>
            <pc:sldMk cId="2574537905" sldId="11281"/>
            <ac:picMk id="67" creationId="{ADC30D45-4505-4AAD-AF61-DBAF859C8FFF}"/>
          </ac:picMkLst>
        </pc:picChg>
      </pc:sldChg>
    </pc:docChg>
  </pc:docChgLst>
  <pc:docChgLst>
    <pc:chgData name="NICOLLET, Marie" userId="16cb7557-08e3-42fa-886d-a5f91f6d9f86" providerId="ADAL" clId="{9130FCFA-75DA-4A81-8B04-5F94E8CBACFD}"/>
    <pc:docChg chg="custSel">
      <pc:chgData name="NICOLLET, Marie" userId="16cb7557-08e3-42fa-886d-a5f91f6d9f86" providerId="ADAL" clId="{9130FCFA-75DA-4A81-8B04-5F94E8CBACFD}" dt="2021-06-24T15:54:19.634" v="1" actId="1592"/>
      <pc:docMkLst>
        <pc:docMk/>
      </pc:docMkLst>
      <pc:sldChg chg="addCm delCm">
        <pc:chgData name="NICOLLET, Marie" userId="16cb7557-08e3-42fa-886d-a5f91f6d9f86" providerId="ADAL" clId="{9130FCFA-75DA-4A81-8B04-5F94E8CBACFD}" dt="2021-06-24T15:54:19.634" v="1" actId="1592"/>
        <pc:sldMkLst>
          <pc:docMk/>
          <pc:sldMk cId="3828858339" sldId="10542"/>
        </pc:sldMkLst>
      </pc:sldChg>
    </pc:docChg>
  </pc:docChgLst>
  <pc:docChgLst>
    <pc:chgData name="CAUSSIDOU, Fabienne" userId="d3b93ce2-b4f2-4ea8-90dc-56594dbc3f3f" providerId="ADAL" clId="{9A389D8F-8519-4379-86DA-2AD907A2BAA9}"/>
    <pc:docChg chg="custSel modSld">
      <pc:chgData name="CAUSSIDOU, Fabienne" userId="d3b93ce2-b4f2-4ea8-90dc-56594dbc3f3f" providerId="ADAL" clId="{9A389D8F-8519-4379-86DA-2AD907A2BAA9}" dt="2021-10-01T09:11:47.452" v="13" actId="1036"/>
      <pc:docMkLst>
        <pc:docMk/>
      </pc:docMkLst>
      <pc:sldChg chg="modSp">
        <pc:chgData name="CAUSSIDOU, Fabienne" userId="d3b93ce2-b4f2-4ea8-90dc-56594dbc3f3f" providerId="ADAL" clId="{9A389D8F-8519-4379-86DA-2AD907A2BAA9}" dt="2021-10-01T06:55:39.437" v="3"/>
        <pc:sldMkLst>
          <pc:docMk/>
          <pc:sldMk cId="4157059696" sldId="11278"/>
        </pc:sldMkLst>
        <pc:spChg chg="mod">
          <ac:chgData name="CAUSSIDOU, Fabienne" userId="d3b93ce2-b4f2-4ea8-90dc-56594dbc3f3f" providerId="ADAL" clId="{9A389D8F-8519-4379-86DA-2AD907A2BAA9}" dt="2021-10-01T06:55:26.098" v="1"/>
          <ac:spMkLst>
            <pc:docMk/>
            <pc:sldMk cId="4157059696" sldId="11278"/>
            <ac:spMk id="2" creationId="{15A27901-FBC1-4867-900D-E3319FAD2C86}"/>
          </ac:spMkLst>
        </pc:spChg>
        <pc:spChg chg="mod">
          <ac:chgData name="CAUSSIDOU, Fabienne" userId="d3b93ce2-b4f2-4ea8-90dc-56594dbc3f3f" providerId="ADAL" clId="{9A389D8F-8519-4379-86DA-2AD907A2BAA9}" dt="2021-10-01T06:55:39.437" v="3"/>
          <ac:spMkLst>
            <pc:docMk/>
            <pc:sldMk cId="4157059696" sldId="11278"/>
            <ac:spMk id="11" creationId="{B8AC72BC-6A1A-4606-AA4E-67F218BE048E}"/>
          </ac:spMkLst>
        </pc:spChg>
      </pc:sldChg>
      <pc:sldChg chg="modSp">
        <pc:chgData name="CAUSSIDOU, Fabienne" userId="d3b93ce2-b4f2-4ea8-90dc-56594dbc3f3f" providerId="ADAL" clId="{9A389D8F-8519-4379-86DA-2AD907A2BAA9}" dt="2021-10-01T09:11:47.452" v="13" actId="1036"/>
        <pc:sldMkLst>
          <pc:docMk/>
          <pc:sldMk cId="1064766632" sldId="11286"/>
        </pc:sldMkLst>
        <pc:picChg chg="mod">
          <ac:chgData name="CAUSSIDOU, Fabienne" userId="d3b93ce2-b4f2-4ea8-90dc-56594dbc3f3f" providerId="ADAL" clId="{9A389D8F-8519-4379-86DA-2AD907A2BAA9}" dt="2021-10-01T09:11:47.452" v="13" actId="1036"/>
          <ac:picMkLst>
            <pc:docMk/>
            <pc:sldMk cId="1064766632" sldId="11286"/>
            <ac:picMk id="7" creationId="{4D010DE5-62FC-4FF2-86DD-BA304FAAE327}"/>
          </ac:picMkLst>
        </pc:picChg>
      </pc:sldChg>
      <pc:sldChg chg="addSp delSp modSp">
        <pc:chgData name="CAUSSIDOU, Fabienne" userId="d3b93ce2-b4f2-4ea8-90dc-56594dbc3f3f" providerId="ADAL" clId="{9A389D8F-8519-4379-86DA-2AD907A2BAA9}" dt="2021-10-01T07:55:31.141" v="7" actId="962"/>
        <pc:sldMkLst>
          <pc:docMk/>
          <pc:sldMk cId="3702509335" sldId="11288"/>
        </pc:sldMkLst>
        <pc:spChg chg="del">
          <ac:chgData name="CAUSSIDOU, Fabienne" userId="d3b93ce2-b4f2-4ea8-90dc-56594dbc3f3f" providerId="ADAL" clId="{9A389D8F-8519-4379-86DA-2AD907A2BAA9}" dt="2021-10-01T07:55:24.019" v="5"/>
          <ac:spMkLst>
            <pc:docMk/>
            <pc:sldMk cId="3702509335" sldId="11288"/>
            <ac:spMk id="5" creationId="{EEC69B4D-2C9F-4997-A859-0587DBE1CA47}"/>
          </ac:spMkLst>
        </pc:spChg>
        <pc:picChg chg="add mod">
          <ac:chgData name="CAUSSIDOU, Fabienne" userId="d3b93ce2-b4f2-4ea8-90dc-56594dbc3f3f" providerId="ADAL" clId="{9A389D8F-8519-4379-86DA-2AD907A2BAA9}" dt="2021-10-01T07:55:31.141" v="7" actId="962"/>
          <ac:picMkLst>
            <pc:docMk/>
            <pc:sldMk cId="3702509335" sldId="11288"/>
            <ac:picMk id="6" creationId="{D87531EF-883D-453A-BCAD-0CC0C7495279}"/>
          </ac:picMkLst>
        </pc:picChg>
        <pc:picChg chg="del">
          <ac:chgData name="CAUSSIDOU, Fabienne" userId="d3b93ce2-b4f2-4ea8-90dc-56594dbc3f3f" providerId="ADAL" clId="{9A389D8F-8519-4379-86DA-2AD907A2BAA9}" dt="2021-10-01T07:55:07.570" v="4" actId="478"/>
          <ac:picMkLst>
            <pc:docMk/>
            <pc:sldMk cId="3702509335" sldId="11288"/>
            <ac:picMk id="8" creationId="{8FEC8912-E99C-498B-B497-D98B7CE2B6B9}"/>
          </ac:picMkLst>
        </pc:picChg>
      </pc:sldChg>
      <pc:sldChg chg="addSp delSp modSp">
        <pc:chgData name="CAUSSIDOU, Fabienne" userId="d3b93ce2-b4f2-4ea8-90dc-56594dbc3f3f" providerId="ADAL" clId="{9A389D8F-8519-4379-86DA-2AD907A2BAA9}" dt="2021-10-01T07:56:01.334" v="12" actId="962"/>
        <pc:sldMkLst>
          <pc:docMk/>
          <pc:sldMk cId="3576710732" sldId="11290"/>
        </pc:sldMkLst>
        <pc:spChg chg="del">
          <ac:chgData name="CAUSSIDOU, Fabienne" userId="d3b93ce2-b4f2-4ea8-90dc-56594dbc3f3f" providerId="ADAL" clId="{9A389D8F-8519-4379-86DA-2AD907A2BAA9}" dt="2021-10-01T07:55:54.231" v="10"/>
          <ac:spMkLst>
            <pc:docMk/>
            <pc:sldMk cId="3576710732" sldId="11290"/>
            <ac:spMk id="5" creationId="{EEC69B4D-2C9F-4997-A859-0587DBE1CA47}"/>
          </ac:spMkLst>
        </pc:spChg>
        <pc:picChg chg="add mod">
          <ac:chgData name="CAUSSIDOU, Fabienne" userId="d3b93ce2-b4f2-4ea8-90dc-56594dbc3f3f" providerId="ADAL" clId="{9A389D8F-8519-4379-86DA-2AD907A2BAA9}" dt="2021-10-01T07:56:01.334" v="12" actId="962"/>
          <ac:picMkLst>
            <pc:docMk/>
            <pc:sldMk cId="3576710732" sldId="11290"/>
            <ac:picMk id="6" creationId="{B331579D-87A7-4271-8E12-457A386E4AE2}"/>
          </ac:picMkLst>
        </pc:picChg>
        <pc:picChg chg="del mod">
          <ac:chgData name="CAUSSIDOU, Fabienne" userId="d3b93ce2-b4f2-4ea8-90dc-56594dbc3f3f" providerId="ADAL" clId="{9A389D8F-8519-4379-86DA-2AD907A2BAA9}" dt="2021-10-01T07:55:46.424" v="9" actId="478"/>
          <ac:picMkLst>
            <pc:docMk/>
            <pc:sldMk cId="3576710732" sldId="11290"/>
            <ac:picMk id="8" creationId="{8FEC8912-E99C-498B-B497-D98B7CE2B6B9}"/>
          </ac:picMkLst>
        </pc:picChg>
      </pc:sldChg>
    </pc:docChg>
  </pc:docChgLst>
  <pc:docChgLst>
    <pc:chgData name="CAUSSIDOU, Fabienne" userId="d3b93ce2-b4f2-4ea8-90dc-56594dbc3f3f" providerId="ADAL" clId="{EEC63FDC-2D3F-466F-A8EF-ABF4BA6F81E8}"/>
    <pc:docChg chg="undo custSel addSld delSld modSld sldOrd modMainMaster">
      <pc:chgData name="CAUSSIDOU, Fabienne" userId="d3b93ce2-b4f2-4ea8-90dc-56594dbc3f3f" providerId="ADAL" clId="{EEC63FDC-2D3F-466F-A8EF-ABF4BA6F81E8}" dt="2021-09-09T15:38:00.465" v="766" actId="1076"/>
      <pc:docMkLst>
        <pc:docMk/>
      </pc:docMkLst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3246020534" sldId="257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2069870064" sldId="258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990566465" sldId="259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2517124042" sldId="263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4151080336" sldId="264"/>
        </pc:sldMkLst>
      </pc:sldChg>
      <pc:sldChg chg="del">
        <pc:chgData name="CAUSSIDOU, Fabienne" userId="d3b93ce2-b4f2-4ea8-90dc-56594dbc3f3f" providerId="ADAL" clId="{EEC63FDC-2D3F-466F-A8EF-ABF4BA6F81E8}" dt="2021-09-07T11:38:49.410" v="35"/>
        <pc:sldMkLst>
          <pc:docMk/>
          <pc:sldMk cId="3808253072" sldId="270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409774031" sldId="271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4024604773" sldId="274"/>
        </pc:sldMkLst>
      </pc:sldChg>
      <pc:sldChg chg="del">
        <pc:chgData name="CAUSSIDOU, Fabienne" userId="d3b93ce2-b4f2-4ea8-90dc-56594dbc3f3f" providerId="ADAL" clId="{EEC63FDC-2D3F-466F-A8EF-ABF4BA6F81E8}" dt="2021-09-07T11:38:49.410" v="35"/>
        <pc:sldMkLst>
          <pc:docMk/>
          <pc:sldMk cId="1647360244" sldId="275"/>
        </pc:sldMkLst>
      </pc:sldChg>
      <pc:sldChg chg="del">
        <pc:chgData name="CAUSSIDOU, Fabienne" userId="d3b93ce2-b4f2-4ea8-90dc-56594dbc3f3f" providerId="ADAL" clId="{EEC63FDC-2D3F-466F-A8EF-ABF4BA6F81E8}" dt="2021-09-07T11:38:49.410" v="35"/>
        <pc:sldMkLst>
          <pc:docMk/>
          <pc:sldMk cId="3463913780" sldId="277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2682454156" sldId="278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2214784765" sldId="279"/>
        </pc:sldMkLst>
      </pc:sldChg>
      <pc:sldChg chg="add del">
        <pc:chgData name="CAUSSIDOU, Fabienne" userId="d3b93ce2-b4f2-4ea8-90dc-56594dbc3f3f" providerId="ADAL" clId="{EEC63FDC-2D3F-466F-A8EF-ABF4BA6F81E8}" dt="2021-09-09T09:00:33.965" v="387"/>
        <pc:sldMkLst>
          <pc:docMk/>
          <pc:sldMk cId="2148375683" sldId="280"/>
        </pc:sldMkLst>
      </pc:sldChg>
      <pc:sldChg chg="add ord">
        <pc:chgData name="CAUSSIDOU, Fabienne" userId="d3b93ce2-b4f2-4ea8-90dc-56594dbc3f3f" providerId="ADAL" clId="{EEC63FDC-2D3F-466F-A8EF-ABF4BA6F81E8}" dt="2021-09-09T08:48:50.295" v="202"/>
        <pc:sldMkLst>
          <pc:docMk/>
          <pc:sldMk cId="2842223102" sldId="437"/>
        </pc:sldMkLst>
      </pc:sldChg>
      <pc:sldChg chg="addSp delSp modSp add setBg">
        <pc:chgData name="CAUSSIDOU, Fabienne" userId="d3b93ce2-b4f2-4ea8-90dc-56594dbc3f3f" providerId="ADAL" clId="{EEC63FDC-2D3F-466F-A8EF-ABF4BA6F81E8}" dt="2021-09-09T08:56:14.680" v="322"/>
        <pc:sldMkLst>
          <pc:docMk/>
          <pc:sldMk cId="3526743404" sldId="10831"/>
        </pc:sldMkLst>
        <pc:spChg chg="mod">
          <ac:chgData name="CAUSSIDOU, Fabienne" userId="d3b93ce2-b4f2-4ea8-90dc-56594dbc3f3f" providerId="ADAL" clId="{EEC63FDC-2D3F-466F-A8EF-ABF4BA6F81E8}" dt="2021-09-09T08:48:46.291" v="200" actId="20577"/>
          <ac:spMkLst>
            <pc:docMk/>
            <pc:sldMk cId="3526743404" sldId="10831"/>
            <ac:spMk id="2" creationId="{BF2CA779-8850-43E8-B0D8-47FE7A773A70}"/>
          </ac:spMkLst>
        </pc:spChg>
        <pc:spChg chg="add del mod">
          <ac:chgData name="CAUSSIDOU, Fabienne" userId="d3b93ce2-b4f2-4ea8-90dc-56594dbc3f3f" providerId="ADAL" clId="{EEC63FDC-2D3F-466F-A8EF-ABF4BA6F81E8}" dt="2021-09-09T08:56:14.680" v="322"/>
          <ac:spMkLst>
            <pc:docMk/>
            <pc:sldMk cId="3526743404" sldId="10831"/>
            <ac:spMk id="4" creationId="{038A1622-E3C3-4132-8E73-ABEA73414BFB}"/>
          </ac:spMkLst>
        </pc:spChg>
        <pc:spChg chg="add del">
          <ac:chgData name="CAUSSIDOU, Fabienne" userId="d3b93ce2-b4f2-4ea8-90dc-56594dbc3f3f" providerId="ADAL" clId="{EEC63FDC-2D3F-466F-A8EF-ABF4BA6F81E8}" dt="2021-09-09T08:56:14.680" v="322"/>
          <ac:spMkLst>
            <pc:docMk/>
            <pc:sldMk cId="3526743404" sldId="10831"/>
            <ac:spMk id="5" creationId="{EEC69B4D-2C9F-4997-A859-0587DBE1CA47}"/>
          </ac:spMkLst>
        </pc:spChg>
        <pc:spChg chg="add del mod">
          <ac:chgData name="CAUSSIDOU, Fabienne" userId="d3b93ce2-b4f2-4ea8-90dc-56594dbc3f3f" providerId="ADAL" clId="{EEC63FDC-2D3F-466F-A8EF-ABF4BA6F81E8}" dt="2021-09-09T08:56:14.680" v="322"/>
          <ac:spMkLst>
            <pc:docMk/>
            <pc:sldMk cId="3526743404" sldId="10831"/>
            <ac:spMk id="6" creationId="{EA4378C4-9DE4-4758-80DE-8E78E2F2832C}"/>
          </ac:spMkLst>
        </pc:spChg>
      </pc:sldChg>
      <pc:sldChg chg="addSp delSp modSp">
        <pc:chgData name="CAUSSIDOU, Fabienne" userId="d3b93ce2-b4f2-4ea8-90dc-56594dbc3f3f" providerId="ADAL" clId="{EEC63FDC-2D3F-466F-A8EF-ABF4BA6F81E8}" dt="2021-09-07T09:54:17.479" v="24"/>
        <pc:sldMkLst>
          <pc:docMk/>
          <pc:sldMk cId="1751578126" sldId="10890"/>
        </pc:sldMkLst>
        <pc:spChg chg="mod">
          <ac:chgData name="CAUSSIDOU, Fabienne" userId="d3b93ce2-b4f2-4ea8-90dc-56594dbc3f3f" providerId="ADAL" clId="{EEC63FDC-2D3F-466F-A8EF-ABF4BA6F81E8}" dt="2021-09-07T09:53:29.316" v="16" actId="20577"/>
          <ac:spMkLst>
            <pc:docMk/>
            <pc:sldMk cId="1751578126" sldId="10890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7T09:53:58.024" v="22" actId="6549"/>
          <ac:spMkLst>
            <pc:docMk/>
            <pc:sldMk cId="1751578126" sldId="10890"/>
            <ac:spMk id="5" creationId="{2D24385A-A44C-49AA-B52B-EC74C2C0C4B8}"/>
          </ac:spMkLst>
        </pc:spChg>
        <pc:spChg chg="add del">
          <ac:chgData name="CAUSSIDOU, Fabienne" userId="d3b93ce2-b4f2-4ea8-90dc-56594dbc3f3f" providerId="ADAL" clId="{EEC63FDC-2D3F-466F-A8EF-ABF4BA6F81E8}" dt="2021-09-07T09:54:17.479" v="24"/>
          <ac:spMkLst>
            <pc:docMk/>
            <pc:sldMk cId="1751578126" sldId="10890"/>
            <ac:spMk id="6" creationId="{0457B7EE-3790-4A5C-BE23-FBFE77AA8114}"/>
          </ac:spMkLst>
        </pc:spChg>
      </pc:sldChg>
      <pc:sldChg chg="modSp add ord">
        <pc:chgData name="CAUSSIDOU, Fabienne" userId="d3b93ce2-b4f2-4ea8-90dc-56594dbc3f3f" providerId="ADAL" clId="{EEC63FDC-2D3F-466F-A8EF-ABF4BA6F81E8}" dt="2021-09-09T08:49:38.859" v="263" actId="20577"/>
        <pc:sldMkLst>
          <pc:docMk/>
          <pc:sldMk cId="3618910511" sldId="11265"/>
        </pc:sldMkLst>
        <pc:spChg chg="mod">
          <ac:chgData name="CAUSSIDOU, Fabienne" userId="d3b93ce2-b4f2-4ea8-90dc-56594dbc3f3f" providerId="ADAL" clId="{EEC63FDC-2D3F-466F-A8EF-ABF4BA6F81E8}" dt="2021-09-09T08:49:38.859" v="263" actId="20577"/>
          <ac:spMkLst>
            <pc:docMk/>
            <pc:sldMk cId="3618910511" sldId="11265"/>
            <ac:spMk id="2" creationId="{A7DF3219-2F78-4ED7-A026-C93C48279065}"/>
          </ac:spMkLst>
        </pc:spChg>
      </pc:sldChg>
      <pc:sldChg chg="del">
        <pc:chgData name="CAUSSIDOU, Fabienne" userId="d3b93ce2-b4f2-4ea8-90dc-56594dbc3f3f" providerId="ADAL" clId="{EEC63FDC-2D3F-466F-A8EF-ABF4BA6F81E8}" dt="2021-09-07T13:27:16.591" v="90" actId="2696"/>
        <pc:sldMkLst>
          <pc:docMk/>
          <pc:sldMk cId="501862983" sldId="11279"/>
        </pc:sldMkLst>
      </pc:sldChg>
      <pc:sldChg chg="del">
        <pc:chgData name="CAUSSIDOU, Fabienne" userId="d3b93ce2-b4f2-4ea8-90dc-56594dbc3f3f" providerId="ADAL" clId="{EEC63FDC-2D3F-466F-A8EF-ABF4BA6F81E8}" dt="2021-09-07T13:27:17.593" v="91" actId="2696"/>
        <pc:sldMkLst>
          <pc:docMk/>
          <pc:sldMk cId="2552688336" sldId="11280"/>
        </pc:sldMkLst>
      </pc:sldChg>
      <pc:sldChg chg="del">
        <pc:chgData name="CAUSSIDOU, Fabienne" userId="d3b93ce2-b4f2-4ea8-90dc-56594dbc3f3f" providerId="ADAL" clId="{EEC63FDC-2D3F-466F-A8EF-ABF4BA6F81E8}" dt="2021-09-07T13:27:15.441" v="89" actId="2696"/>
        <pc:sldMkLst>
          <pc:docMk/>
          <pc:sldMk cId="2574537905" sldId="11281"/>
        </pc:sldMkLst>
      </pc:sldChg>
      <pc:sldChg chg="addSp delSp modSp add">
        <pc:chgData name="CAUSSIDOU, Fabienne" userId="d3b93ce2-b4f2-4ea8-90dc-56594dbc3f3f" providerId="ADAL" clId="{EEC63FDC-2D3F-466F-A8EF-ABF4BA6F81E8}" dt="2021-09-07T13:26:34.601" v="88" actId="1076"/>
        <pc:sldMkLst>
          <pc:docMk/>
          <pc:sldMk cId="379530484" sldId="11282"/>
        </pc:sldMkLst>
        <pc:spChg chg="mod">
          <ac:chgData name="CAUSSIDOU, Fabienne" userId="d3b93ce2-b4f2-4ea8-90dc-56594dbc3f3f" providerId="ADAL" clId="{EEC63FDC-2D3F-466F-A8EF-ABF4BA6F81E8}" dt="2021-09-07T09:54:28.546" v="26"/>
          <ac:spMkLst>
            <pc:docMk/>
            <pc:sldMk cId="379530484" sldId="11282"/>
            <ac:spMk id="2" creationId="{2E7C573B-750B-4FD4-B8CE-AB955A21BB24}"/>
          </ac:spMkLst>
        </pc:spChg>
        <pc:spChg chg="del">
          <ac:chgData name="CAUSSIDOU, Fabienne" userId="d3b93ce2-b4f2-4ea8-90dc-56594dbc3f3f" providerId="ADAL" clId="{EEC63FDC-2D3F-466F-A8EF-ABF4BA6F81E8}" dt="2021-09-07T09:54:33.997" v="27" actId="478"/>
          <ac:spMkLst>
            <pc:docMk/>
            <pc:sldMk cId="379530484" sldId="11282"/>
            <ac:spMk id="5" creationId="{2D24385A-A44C-49AA-B52B-EC74C2C0C4B8}"/>
          </ac:spMkLst>
        </pc:spChg>
        <pc:spChg chg="add mod">
          <ac:chgData name="CAUSSIDOU, Fabienne" userId="d3b93ce2-b4f2-4ea8-90dc-56594dbc3f3f" providerId="ADAL" clId="{EEC63FDC-2D3F-466F-A8EF-ABF4BA6F81E8}" dt="2021-09-07T13:26:34.601" v="88" actId="1076"/>
          <ac:spMkLst>
            <pc:docMk/>
            <pc:sldMk cId="379530484" sldId="11282"/>
            <ac:spMk id="7" creationId="{5B7D401D-DA6B-4E31-85B6-6F6F8BFBF20E}"/>
          </ac:spMkLst>
        </pc:spChg>
        <pc:picChg chg="add mod">
          <ac:chgData name="CAUSSIDOU, Fabienne" userId="d3b93ce2-b4f2-4ea8-90dc-56594dbc3f3f" providerId="ADAL" clId="{EEC63FDC-2D3F-466F-A8EF-ABF4BA6F81E8}" dt="2021-09-07T13:26:31.373" v="87" actId="1076"/>
          <ac:picMkLst>
            <pc:docMk/>
            <pc:sldMk cId="379530484" sldId="11282"/>
            <ac:picMk id="6" creationId="{A8CB6383-29FB-47E3-966C-9BB73159B701}"/>
          </ac:picMkLst>
        </pc:picChg>
        <pc:picChg chg="add">
          <ac:chgData name="CAUSSIDOU, Fabienne" userId="d3b93ce2-b4f2-4ea8-90dc-56594dbc3f3f" providerId="ADAL" clId="{EEC63FDC-2D3F-466F-A8EF-ABF4BA6F81E8}" dt="2021-09-07T11:38:16.222" v="34"/>
          <ac:picMkLst>
            <pc:docMk/>
            <pc:sldMk cId="379530484" sldId="11282"/>
            <ac:picMk id="8" creationId="{0D5FA56A-EC37-4309-8EE3-CBE11135AC9A}"/>
          </ac:picMkLst>
        </pc:picChg>
      </pc:sldChg>
      <pc:sldChg chg="modSp add ord">
        <pc:chgData name="CAUSSIDOU, Fabienne" userId="d3b93ce2-b4f2-4ea8-90dc-56594dbc3f3f" providerId="ADAL" clId="{EEC63FDC-2D3F-466F-A8EF-ABF4BA6F81E8}" dt="2021-09-09T09:11:38.595" v="497"/>
        <pc:sldMkLst>
          <pc:docMk/>
          <pc:sldMk cId="3563361825" sldId="11283"/>
        </pc:sldMkLst>
        <pc:spChg chg="mod">
          <ac:chgData name="CAUSSIDOU, Fabienne" userId="d3b93ce2-b4f2-4ea8-90dc-56594dbc3f3f" providerId="ADAL" clId="{EEC63FDC-2D3F-466F-A8EF-ABF4BA6F81E8}" dt="2021-09-07T11:39:12.260" v="78" actId="20577"/>
          <ac:spMkLst>
            <pc:docMk/>
            <pc:sldMk cId="3563361825" sldId="11283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7T11:39:27.425" v="81" actId="20577"/>
          <ac:spMkLst>
            <pc:docMk/>
            <pc:sldMk cId="3563361825" sldId="11283"/>
            <ac:spMk id="5" creationId="{2D24385A-A44C-49AA-B52B-EC74C2C0C4B8}"/>
          </ac:spMkLst>
        </pc:spChg>
      </pc:sldChg>
      <pc:sldChg chg="addSp delSp modSp add">
        <pc:chgData name="CAUSSIDOU, Fabienne" userId="d3b93ce2-b4f2-4ea8-90dc-56594dbc3f3f" providerId="ADAL" clId="{EEC63FDC-2D3F-466F-A8EF-ABF4BA6F81E8}" dt="2021-09-07T13:28:11.715" v="115"/>
        <pc:sldMkLst>
          <pc:docMk/>
          <pc:sldMk cId="3169421791" sldId="11284"/>
        </pc:sldMkLst>
        <pc:spChg chg="mod">
          <ac:chgData name="CAUSSIDOU, Fabienne" userId="d3b93ce2-b4f2-4ea8-90dc-56594dbc3f3f" providerId="ADAL" clId="{EEC63FDC-2D3F-466F-A8EF-ABF4BA6F81E8}" dt="2021-09-07T13:27:25.348" v="113" actId="20577"/>
          <ac:spMkLst>
            <pc:docMk/>
            <pc:sldMk cId="3169421791" sldId="11284"/>
            <ac:spMk id="2" creationId="{2E7C573B-750B-4FD4-B8CE-AB955A21BB24}"/>
          </ac:spMkLst>
        </pc:spChg>
        <pc:spChg chg="del">
          <ac:chgData name="CAUSSIDOU, Fabienne" userId="d3b93ce2-b4f2-4ea8-90dc-56594dbc3f3f" providerId="ADAL" clId="{EEC63FDC-2D3F-466F-A8EF-ABF4BA6F81E8}" dt="2021-09-07T13:27:39.790" v="114" actId="478"/>
          <ac:spMkLst>
            <pc:docMk/>
            <pc:sldMk cId="3169421791" sldId="11284"/>
            <ac:spMk id="5" creationId="{2D24385A-A44C-49AA-B52B-EC74C2C0C4B8}"/>
          </ac:spMkLst>
        </pc:spChg>
        <pc:picChg chg="add">
          <ac:chgData name="CAUSSIDOU, Fabienne" userId="d3b93ce2-b4f2-4ea8-90dc-56594dbc3f3f" providerId="ADAL" clId="{EEC63FDC-2D3F-466F-A8EF-ABF4BA6F81E8}" dt="2021-09-07T13:28:11.715" v="115"/>
          <ac:picMkLst>
            <pc:docMk/>
            <pc:sldMk cId="3169421791" sldId="11284"/>
            <ac:picMk id="4" creationId="{0360F47A-EEE7-450C-B27D-1742BE0CAEE9}"/>
          </ac:picMkLst>
        </pc:picChg>
      </pc:sldChg>
      <pc:sldChg chg="modSp add del ord">
        <pc:chgData name="CAUSSIDOU, Fabienne" userId="d3b93ce2-b4f2-4ea8-90dc-56594dbc3f3f" providerId="ADAL" clId="{EEC63FDC-2D3F-466F-A8EF-ABF4BA6F81E8}" dt="2021-09-09T08:51:31.054" v="277" actId="2696"/>
        <pc:sldMkLst>
          <pc:docMk/>
          <pc:sldMk cId="1535256985" sldId="11285"/>
        </pc:sldMkLst>
        <pc:spChg chg="mod">
          <ac:chgData name="CAUSSIDOU, Fabienne" userId="d3b93ce2-b4f2-4ea8-90dc-56594dbc3f3f" providerId="ADAL" clId="{EEC63FDC-2D3F-466F-A8EF-ABF4BA6F81E8}" dt="2021-09-09T08:48:30.875" v="194" actId="20577"/>
          <ac:spMkLst>
            <pc:docMk/>
            <pc:sldMk cId="1535256985" sldId="11285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9T08:49:54.948" v="265" actId="115"/>
          <ac:spMkLst>
            <pc:docMk/>
            <pc:sldMk cId="1535256985" sldId="11285"/>
            <ac:spMk id="5" creationId="{2D24385A-A44C-49AA-B52B-EC74C2C0C4B8}"/>
          </ac:spMkLst>
        </pc:spChg>
      </pc:sldChg>
      <pc:sldChg chg="addSp delSp modSp add ord">
        <pc:chgData name="CAUSSIDOU, Fabienne" userId="d3b93ce2-b4f2-4ea8-90dc-56594dbc3f3f" providerId="ADAL" clId="{EEC63FDC-2D3F-466F-A8EF-ABF4BA6F81E8}" dt="2021-09-09T09:20:03.864" v="606" actId="20577"/>
        <pc:sldMkLst>
          <pc:docMk/>
          <pc:sldMk cId="1064766632" sldId="11286"/>
        </pc:sldMkLst>
        <pc:spChg chg="mod">
          <ac:chgData name="CAUSSIDOU, Fabienne" userId="d3b93ce2-b4f2-4ea8-90dc-56594dbc3f3f" providerId="ADAL" clId="{EEC63FDC-2D3F-466F-A8EF-ABF4BA6F81E8}" dt="2021-09-09T09:20:03.864" v="606" actId="20577"/>
          <ac:spMkLst>
            <pc:docMk/>
            <pc:sldMk cId="1064766632" sldId="11286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9T09:18:36.129" v="557" actId="14100"/>
          <ac:spMkLst>
            <pc:docMk/>
            <pc:sldMk cId="1064766632" sldId="11286"/>
            <ac:spMk id="5" creationId="{2D24385A-A44C-49AA-B52B-EC74C2C0C4B8}"/>
          </ac:spMkLst>
        </pc:spChg>
        <pc:picChg chg="add mod">
          <ac:chgData name="CAUSSIDOU, Fabienne" userId="d3b93ce2-b4f2-4ea8-90dc-56594dbc3f3f" providerId="ADAL" clId="{EEC63FDC-2D3F-466F-A8EF-ABF4BA6F81E8}" dt="2021-09-09T09:18:33.529" v="556" actId="1076"/>
          <ac:picMkLst>
            <pc:docMk/>
            <pc:sldMk cId="1064766632" sldId="11286"/>
            <ac:picMk id="6" creationId="{16C565FA-2F8A-427A-8262-E49A91801E60}"/>
          </ac:picMkLst>
        </pc:picChg>
        <pc:picChg chg="add mod">
          <ac:chgData name="CAUSSIDOU, Fabienne" userId="d3b93ce2-b4f2-4ea8-90dc-56594dbc3f3f" providerId="ADAL" clId="{EEC63FDC-2D3F-466F-A8EF-ABF4BA6F81E8}" dt="2021-09-09T09:18:39.579" v="558" actId="1076"/>
          <ac:picMkLst>
            <pc:docMk/>
            <pc:sldMk cId="1064766632" sldId="11286"/>
            <ac:picMk id="7" creationId="{4D010DE5-62FC-4FF2-86DD-BA304FAAE327}"/>
          </ac:picMkLst>
        </pc:picChg>
        <pc:picChg chg="add del">
          <ac:chgData name="CAUSSIDOU, Fabienne" userId="d3b93ce2-b4f2-4ea8-90dc-56594dbc3f3f" providerId="ADAL" clId="{EEC63FDC-2D3F-466F-A8EF-ABF4BA6F81E8}" dt="2021-09-09T09:19:20.820" v="576" actId="478"/>
          <ac:picMkLst>
            <pc:docMk/>
            <pc:sldMk cId="1064766632" sldId="11286"/>
            <ac:picMk id="8" creationId="{495718A7-3371-4554-A8E4-55115BC8587E}"/>
          </ac:picMkLst>
        </pc:picChg>
      </pc:sldChg>
      <pc:sldChg chg="delSp modSp add">
        <pc:chgData name="CAUSSIDOU, Fabienne" userId="d3b93ce2-b4f2-4ea8-90dc-56594dbc3f3f" providerId="ADAL" clId="{EEC63FDC-2D3F-466F-A8EF-ABF4BA6F81E8}" dt="2021-09-09T08:51:56.390" v="280" actId="14100"/>
        <pc:sldMkLst>
          <pc:docMk/>
          <pc:sldMk cId="2919905975" sldId="11287"/>
        </pc:sldMkLst>
        <pc:spChg chg="mod">
          <ac:chgData name="CAUSSIDOU, Fabienne" userId="d3b93ce2-b4f2-4ea8-90dc-56594dbc3f3f" providerId="ADAL" clId="{EEC63FDC-2D3F-466F-A8EF-ABF4BA6F81E8}" dt="2021-09-09T08:51:56.390" v="280" actId="14100"/>
          <ac:spMkLst>
            <pc:docMk/>
            <pc:sldMk cId="2919905975" sldId="11287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9T08:50:45.310" v="272" actId="20577"/>
          <ac:spMkLst>
            <pc:docMk/>
            <pc:sldMk cId="2919905975" sldId="11287"/>
            <ac:spMk id="5" creationId="{2D24385A-A44C-49AA-B52B-EC74C2C0C4B8}"/>
          </ac:spMkLst>
        </pc:spChg>
        <pc:spChg chg="del mod">
          <ac:chgData name="CAUSSIDOU, Fabienne" userId="d3b93ce2-b4f2-4ea8-90dc-56594dbc3f3f" providerId="ADAL" clId="{EEC63FDC-2D3F-466F-A8EF-ABF4BA6F81E8}" dt="2021-09-09T08:51:01.641" v="274" actId="478"/>
          <ac:spMkLst>
            <pc:docMk/>
            <pc:sldMk cId="2919905975" sldId="11287"/>
            <ac:spMk id="8" creationId="{12E25BCB-52C4-4A5A-ABA4-9E4404936A23}"/>
          </ac:spMkLst>
        </pc:spChg>
        <pc:spChg chg="del">
          <ac:chgData name="CAUSSIDOU, Fabienne" userId="d3b93ce2-b4f2-4ea8-90dc-56594dbc3f3f" providerId="ADAL" clId="{EEC63FDC-2D3F-466F-A8EF-ABF4BA6F81E8}" dt="2021-09-09T08:51:04.026" v="275" actId="478"/>
          <ac:spMkLst>
            <pc:docMk/>
            <pc:sldMk cId="2919905975" sldId="11287"/>
            <ac:spMk id="9" creationId="{D86167E1-AE9F-4C1D-A9BA-F4F173E13020}"/>
          </ac:spMkLst>
        </pc:spChg>
        <pc:spChg chg="del">
          <ac:chgData name="CAUSSIDOU, Fabienne" userId="d3b93ce2-b4f2-4ea8-90dc-56594dbc3f3f" providerId="ADAL" clId="{EEC63FDC-2D3F-466F-A8EF-ABF4BA6F81E8}" dt="2021-09-09T08:51:06.089" v="276" actId="478"/>
          <ac:spMkLst>
            <pc:docMk/>
            <pc:sldMk cId="2919905975" sldId="11287"/>
            <ac:spMk id="10" creationId="{3BF396ED-AFCA-4E2F-875A-101481800A73}"/>
          </ac:spMkLst>
        </pc:spChg>
      </pc:sldChg>
      <pc:sldChg chg="modSp add">
        <pc:chgData name="CAUSSIDOU, Fabienne" userId="d3b93ce2-b4f2-4ea8-90dc-56594dbc3f3f" providerId="ADAL" clId="{EEC63FDC-2D3F-466F-A8EF-ABF4BA6F81E8}" dt="2021-09-09T08:52:29.428" v="319" actId="6549"/>
        <pc:sldMkLst>
          <pc:docMk/>
          <pc:sldMk cId="3702509335" sldId="11288"/>
        </pc:sldMkLst>
        <pc:spChg chg="mod">
          <ac:chgData name="CAUSSIDOU, Fabienne" userId="d3b93ce2-b4f2-4ea8-90dc-56594dbc3f3f" providerId="ADAL" clId="{EEC63FDC-2D3F-466F-A8EF-ABF4BA6F81E8}" dt="2021-09-09T08:52:29.428" v="319" actId="6549"/>
          <ac:spMkLst>
            <pc:docMk/>
            <pc:sldMk cId="3702509335" sldId="11288"/>
            <ac:spMk id="2" creationId="{BF2CA779-8850-43E8-B0D8-47FE7A773A70}"/>
          </ac:spMkLst>
        </pc:spChg>
      </pc:sldChg>
      <pc:sldChg chg="modSp add">
        <pc:chgData name="CAUSSIDOU, Fabienne" userId="d3b93ce2-b4f2-4ea8-90dc-56594dbc3f3f" providerId="ADAL" clId="{EEC63FDC-2D3F-466F-A8EF-ABF4BA6F81E8}" dt="2021-09-09T08:52:15.362" v="298" actId="20577"/>
        <pc:sldMkLst>
          <pc:docMk/>
          <pc:sldMk cId="3453807104" sldId="11289"/>
        </pc:sldMkLst>
        <pc:spChg chg="mod">
          <ac:chgData name="CAUSSIDOU, Fabienne" userId="d3b93ce2-b4f2-4ea8-90dc-56594dbc3f3f" providerId="ADAL" clId="{EEC63FDC-2D3F-466F-A8EF-ABF4BA6F81E8}" dt="2021-09-09T08:52:15.362" v="298" actId="20577"/>
          <ac:spMkLst>
            <pc:docMk/>
            <pc:sldMk cId="3453807104" sldId="11289"/>
            <ac:spMk id="2" creationId="{2E7C573B-750B-4FD4-B8CE-AB955A21BB24}"/>
          </ac:spMkLst>
        </pc:spChg>
      </pc:sldChg>
      <pc:sldChg chg="modSp add">
        <pc:chgData name="CAUSSIDOU, Fabienne" userId="d3b93ce2-b4f2-4ea8-90dc-56594dbc3f3f" providerId="ADAL" clId="{EEC63FDC-2D3F-466F-A8EF-ABF4BA6F81E8}" dt="2021-09-09T09:16:57.464" v="538" actId="6549"/>
        <pc:sldMkLst>
          <pc:docMk/>
          <pc:sldMk cId="3576710732" sldId="11290"/>
        </pc:sldMkLst>
        <pc:spChg chg="mod">
          <ac:chgData name="CAUSSIDOU, Fabienne" userId="d3b93ce2-b4f2-4ea8-90dc-56594dbc3f3f" providerId="ADAL" clId="{EEC63FDC-2D3F-466F-A8EF-ABF4BA6F81E8}" dt="2021-09-09T09:16:57.464" v="538" actId="6549"/>
          <ac:spMkLst>
            <pc:docMk/>
            <pc:sldMk cId="3576710732" sldId="11290"/>
            <ac:spMk id="2" creationId="{BF2CA779-8850-43E8-B0D8-47FE7A773A70}"/>
          </ac:spMkLst>
        </pc:spChg>
      </pc:sldChg>
      <pc:sldChg chg="modSp add">
        <pc:chgData name="CAUSSIDOU, Fabienne" userId="d3b93ce2-b4f2-4ea8-90dc-56594dbc3f3f" providerId="ADAL" clId="{EEC63FDC-2D3F-466F-A8EF-ABF4BA6F81E8}" dt="2021-09-09T09:00:52.494" v="388" actId="20577"/>
        <pc:sldMkLst>
          <pc:docMk/>
          <pc:sldMk cId="519501006" sldId="11291"/>
        </pc:sldMkLst>
        <pc:spChg chg="mod">
          <ac:chgData name="CAUSSIDOU, Fabienne" userId="d3b93ce2-b4f2-4ea8-90dc-56594dbc3f3f" providerId="ADAL" clId="{EEC63FDC-2D3F-466F-A8EF-ABF4BA6F81E8}" dt="2021-09-09T09:00:52.494" v="388" actId="20577"/>
          <ac:spMkLst>
            <pc:docMk/>
            <pc:sldMk cId="519501006" sldId="11291"/>
            <ac:spMk id="2" creationId="{2E7C573B-750B-4FD4-B8CE-AB955A21BB24}"/>
          </ac:spMkLst>
        </pc:spChg>
      </pc:sldChg>
      <pc:sldChg chg="addSp modSp add">
        <pc:chgData name="CAUSSIDOU, Fabienne" userId="d3b93ce2-b4f2-4ea8-90dc-56594dbc3f3f" providerId="ADAL" clId="{EEC63FDC-2D3F-466F-A8EF-ABF4BA6F81E8}" dt="2021-09-09T09:10:39.331" v="492" actId="1076"/>
        <pc:sldMkLst>
          <pc:docMk/>
          <pc:sldMk cId="3167175629" sldId="11292"/>
        </pc:sldMkLst>
        <pc:spChg chg="mod">
          <ac:chgData name="CAUSSIDOU, Fabienne" userId="d3b93ce2-b4f2-4ea8-90dc-56594dbc3f3f" providerId="ADAL" clId="{EEC63FDC-2D3F-466F-A8EF-ABF4BA6F81E8}" dt="2021-09-09T09:08:58.072" v="447" actId="20577"/>
          <ac:spMkLst>
            <pc:docMk/>
            <pc:sldMk cId="3167175629" sldId="11292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9T09:10:31.585" v="491" actId="207"/>
          <ac:spMkLst>
            <pc:docMk/>
            <pc:sldMk cId="3167175629" sldId="11292"/>
            <ac:spMk id="5" creationId="{2D24385A-A44C-49AA-B52B-EC74C2C0C4B8}"/>
          </ac:spMkLst>
        </pc:spChg>
        <pc:picChg chg="add mod">
          <ac:chgData name="CAUSSIDOU, Fabienne" userId="d3b93ce2-b4f2-4ea8-90dc-56594dbc3f3f" providerId="ADAL" clId="{EEC63FDC-2D3F-466F-A8EF-ABF4BA6F81E8}" dt="2021-09-09T09:10:39.331" v="492" actId="1076"/>
          <ac:picMkLst>
            <pc:docMk/>
            <pc:sldMk cId="3167175629" sldId="11292"/>
            <ac:picMk id="6" creationId="{0E678651-6F3C-42F7-82BE-D72AADFE0B93}"/>
          </ac:picMkLst>
        </pc:picChg>
      </pc:sldChg>
      <pc:sldChg chg="addSp delSp modSp add">
        <pc:chgData name="CAUSSIDOU, Fabienne" userId="d3b93ce2-b4f2-4ea8-90dc-56594dbc3f3f" providerId="ADAL" clId="{EEC63FDC-2D3F-466F-A8EF-ABF4BA6F81E8}" dt="2021-09-09T09:11:12.085" v="496" actId="1076"/>
        <pc:sldMkLst>
          <pc:docMk/>
          <pc:sldMk cId="2821518634" sldId="11293"/>
        </pc:sldMkLst>
        <pc:picChg chg="del">
          <ac:chgData name="CAUSSIDOU, Fabienne" userId="d3b93ce2-b4f2-4ea8-90dc-56594dbc3f3f" providerId="ADAL" clId="{EEC63FDC-2D3F-466F-A8EF-ABF4BA6F81E8}" dt="2021-09-09T09:11:06.744" v="494" actId="478"/>
          <ac:picMkLst>
            <pc:docMk/>
            <pc:sldMk cId="2821518634" sldId="11293"/>
            <ac:picMk id="6" creationId="{0E678651-6F3C-42F7-82BE-D72AADFE0B93}"/>
          </ac:picMkLst>
        </pc:picChg>
        <pc:picChg chg="add mod">
          <ac:chgData name="CAUSSIDOU, Fabienne" userId="d3b93ce2-b4f2-4ea8-90dc-56594dbc3f3f" providerId="ADAL" clId="{EEC63FDC-2D3F-466F-A8EF-ABF4BA6F81E8}" dt="2021-09-09T09:11:12.085" v="496" actId="1076"/>
          <ac:picMkLst>
            <pc:docMk/>
            <pc:sldMk cId="2821518634" sldId="11293"/>
            <ac:picMk id="7" creationId="{BBA8F645-6DB0-494A-9985-2CB2AAD6BA0D}"/>
          </ac:picMkLst>
        </pc:picChg>
      </pc:sldChg>
      <pc:sldChg chg="addSp modSp add">
        <pc:chgData name="CAUSSIDOU, Fabienne" userId="d3b93ce2-b4f2-4ea8-90dc-56594dbc3f3f" providerId="ADAL" clId="{EEC63FDC-2D3F-466F-A8EF-ABF4BA6F81E8}" dt="2021-09-09T15:38:00.465" v="766" actId="1076"/>
        <pc:sldMkLst>
          <pc:docMk/>
          <pc:sldMk cId="3465162678" sldId="11294"/>
        </pc:sldMkLst>
        <pc:spChg chg="mod">
          <ac:chgData name="CAUSSIDOU, Fabienne" userId="d3b93ce2-b4f2-4ea8-90dc-56594dbc3f3f" providerId="ADAL" clId="{EEC63FDC-2D3F-466F-A8EF-ABF4BA6F81E8}" dt="2021-09-09T09:16:19.379" v="507" actId="20577"/>
          <ac:spMkLst>
            <pc:docMk/>
            <pc:sldMk cId="3465162678" sldId="11294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9T09:16:25.186" v="508" actId="1076"/>
          <ac:spMkLst>
            <pc:docMk/>
            <pc:sldMk cId="3465162678" sldId="11294"/>
            <ac:spMk id="5" creationId="{2D24385A-A44C-49AA-B52B-EC74C2C0C4B8}"/>
          </ac:spMkLst>
        </pc:spChg>
        <pc:picChg chg="add mod">
          <ac:chgData name="CAUSSIDOU, Fabienne" userId="d3b93ce2-b4f2-4ea8-90dc-56594dbc3f3f" providerId="ADAL" clId="{EEC63FDC-2D3F-466F-A8EF-ABF4BA6F81E8}" dt="2021-09-09T15:38:00.465" v="766" actId="1076"/>
          <ac:picMkLst>
            <pc:docMk/>
            <pc:sldMk cId="3465162678" sldId="11294"/>
            <ac:picMk id="6" creationId="{46E3B238-5BFA-40B8-90C5-DCAC8894AE89}"/>
          </ac:picMkLst>
        </pc:picChg>
      </pc:sldChg>
      <pc:sldChg chg="addSp delSp modSp add">
        <pc:chgData name="CAUSSIDOU, Fabienne" userId="d3b93ce2-b4f2-4ea8-90dc-56594dbc3f3f" providerId="ADAL" clId="{EEC63FDC-2D3F-466F-A8EF-ABF4BA6F81E8}" dt="2021-09-09T09:22:02.273" v="633" actId="14100"/>
        <pc:sldMkLst>
          <pc:docMk/>
          <pc:sldMk cId="661181230" sldId="11295"/>
        </pc:sldMkLst>
        <pc:spChg chg="mod">
          <ac:chgData name="CAUSSIDOU, Fabienne" userId="d3b93ce2-b4f2-4ea8-90dc-56594dbc3f3f" providerId="ADAL" clId="{EEC63FDC-2D3F-466F-A8EF-ABF4BA6F81E8}" dt="2021-09-09T09:22:02.273" v="633" actId="14100"/>
          <ac:spMkLst>
            <pc:docMk/>
            <pc:sldMk cId="661181230" sldId="11295"/>
            <ac:spMk id="5" creationId="{2D24385A-A44C-49AA-B52B-EC74C2C0C4B8}"/>
          </ac:spMkLst>
        </pc:spChg>
        <pc:picChg chg="del">
          <ac:chgData name="CAUSSIDOU, Fabienne" userId="d3b93ce2-b4f2-4ea8-90dc-56594dbc3f3f" providerId="ADAL" clId="{EEC63FDC-2D3F-466F-A8EF-ABF4BA6F81E8}" dt="2021-09-09T09:20:16.949" v="607" actId="478"/>
          <ac:picMkLst>
            <pc:docMk/>
            <pc:sldMk cId="661181230" sldId="11295"/>
            <ac:picMk id="6" creationId="{16C565FA-2F8A-427A-8262-E49A91801E60}"/>
          </ac:picMkLst>
        </pc:picChg>
        <pc:picChg chg="del">
          <ac:chgData name="CAUSSIDOU, Fabienne" userId="d3b93ce2-b4f2-4ea8-90dc-56594dbc3f3f" providerId="ADAL" clId="{EEC63FDC-2D3F-466F-A8EF-ABF4BA6F81E8}" dt="2021-09-09T09:20:33.157" v="613" actId="478"/>
          <ac:picMkLst>
            <pc:docMk/>
            <pc:sldMk cId="661181230" sldId="11295"/>
            <ac:picMk id="7" creationId="{4D010DE5-62FC-4FF2-86DD-BA304FAAE327}"/>
          </ac:picMkLst>
        </pc:picChg>
        <pc:picChg chg="del">
          <ac:chgData name="CAUSSIDOU, Fabienne" userId="d3b93ce2-b4f2-4ea8-90dc-56594dbc3f3f" providerId="ADAL" clId="{EEC63FDC-2D3F-466F-A8EF-ABF4BA6F81E8}" dt="2021-09-09T09:19:22.814" v="577" actId="478"/>
          <ac:picMkLst>
            <pc:docMk/>
            <pc:sldMk cId="661181230" sldId="11295"/>
            <ac:picMk id="8" creationId="{495718A7-3371-4554-A8E4-55115BC8587E}"/>
          </ac:picMkLst>
        </pc:picChg>
        <pc:picChg chg="add mod">
          <ac:chgData name="CAUSSIDOU, Fabienne" userId="d3b93ce2-b4f2-4ea8-90dc-56594dbc3f3f" providerId="ADAL" clId="{EEC63FDC-2D3F-466F-A8EF-ABF4BA6F81E8}" dt="2021-09-09T09:20:26.267" v="611" actId="1076"/>
          <ac:picMkLst>
            <pc:docMk/>
            <pc:sldMk cId="661181230" sldId="11295"/>
            <ac:picMk id="9" creationId="{783E47A4-1002-4BF7-8A81-5C058CDCC61C}"/>
          </ac:picMkLst>
        </pc:picChg>
        <pc:picChg chg="add mod">
          <ac:chgData name="CAUSSIDOU, Fabienne" userId="d3b93ce2-b4f2-4ea8-90dc-56594dbc3f3f" providerId="ADAL" clId="{EEC63FDC-2D3F-466F-A8EF-ABF4BA6F81E8}" dt="2021-09-09T09:20:36.245" v="614" actId="1076"/>
          <ac:picMkLst>
            <pc:docMk/>
            <pc:sldMk cId="661181230" sldId="11295"/>
            <ac:picMk id="10" creationId="{916D3C17-CD27-4BC6-999B-E3F9F7F59F05}"/>
          </ac:picMkLst>
        </pc:picChg>
        <pc:picChg chg="add del">
          <ac:chgData name="CAUSSIDOU, Fabienne" userId="d3b93ce2-b4f2-4ea8-90dc-56594dbc3f3f" providerId="ADAL" clId="{EEC63FDC-2D3F-466F-A8EF-ABF4BA6F81E8}" dt="2021-09-09T09:21:58.419" v="632" actId="478"/>
          <ac:picMkLst>
            <pc:docMk/>
            <pc:sldMk cId="661181230" sldId="11295"/>
            <ac:picMk id="11" creationId="{1C0D52C8-E754-4B68-8F40-6D948EE2E050}"/>
          </ac:picMkLst>
        </pc:picChg>
      </pc:sldChg>
      <pc:sldChg chg="addSp delSp modSp add">
        <pc:chgData name="CAUSSIDOU, Fabienne" userId="d3b93ce2-b4f2-4ea8-90dc-56594dbc3f3f" providerId="ADAL" clId="{EEC63FDC-2D3F-466F-A8EF-ABF4BA6F81E8}" dt="2021-09-09T09:22:47.721" v="683" actId="6549"/>
        <pc:sldMkLst>
          <pc:docMk/>
          <pc:sldMk cId="2106996571" sldId="11296"/>
        </pc:sldMkLst>
        <pc:spChg chg="mod">
          <ac:chgData name="CAUSSIDOU, Fabienne" userId="d3b93ce2-b4f2-4ea8-90dc-56594dbc3f3f" providerId="ADAL" clId="{EEC63FDC-2D3F-466F-A8EF-ABF4BA6F81E8}" dt="2021-09-09T09:22:20.011" v="645" actId="20577"/>
          <ac:spMkLst>
            <pc:docMk/>
            <pc:sldMk cId="2106996571" sldId="11296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9T09:22:47.721" v="683" actId="6549"/>
          <ac:spMkLst>
            <pc:docMk/>
            <pc:sldMk cId="2106996571" sldId="11296"/>
            <ac:spMk id="5" creationId="{2D24385A-A44C-49AA-B52B-EC74C2C0C4B8}"/>
          </ac:spMkLst>
        </pc:spChg>
        <pc:picChg chg="add mod">
          <ac:chgData name="CAUSSIDOU, Fabienne" userId="d3b93ce2-b4f2-4ea8-90dc-56594dbc3f3f" providerId="ADAL" clId="{EEC63FDC-2D3F-466F-A8EF-ABF4BA6F81E8}" dt="2021-09-09T09:22:34.727" v="650" actId="1076"/>
          <ac:picMkLst>
            <pc:docMk/>
            <pc:sldMk cId="2106996571" sldId="11296"/>
            <ac:picMk id="7" creationId="{EE615BDE-1BFF-4CAB-B251-0F06DC722C7A}"/>
          </ac:picMkLst>
        </pc:picChg>
        <pc:picChg chg="del">
          <ac:chgData name="CAUSSIDOU, Fabienne" userId="d3b93ce2-b4f2-4ea8-90dc-56594dbc3f3f" providerId="ADAL" clId="{EEC63FDC-2D3F-466F-A8EF-ABF4BA6F81E8}" dt="2021-09-09T09:22:26.982" v="647" actId="478"/>
          <ac:picMkLst>
            <pc:docMk/>
            <pc:sldMk cId="2106996571" sldId="11296"/>
            <ac:picMk id="9" creationId="{783E47A4-1002-4BF7-8A81-5C058CDCC61C}"/>
          </ac:picMkLst>
        </pc:picChg>
        <pc:picChg chg="del">
          <ac:chgData name="CAUSSIDOU, Fabienne" userId="d3b93ce2-b4f2-4ea8-90dc-56594dbc3f3f" providerId="ADAL" clId="{EEC63FDC-2D3F-466F-A8EF-ABF4BA6F81E8}" dt="2021-09-09T09:22:27.829" v="648" actId="478"/>
          <ac:picMkLst>
            <pc:docMk/>
            <pc:sldMk cId="2106996571" sldId="11296"/>
            <ac:picMk id="10" creationId="{916D3C17-CD27-4BC6-999B-E3F9F7F59F05}"/>
          </ac:picMkLst>
        </pc:picChg>
      </pc:sldChg>
      <pc:sldChg chg="addSp delSp modSp add">
        <pc:chgData name="CAUSSIDOU, Fabienne" userId="d3b93ce2-b4f2-4ea8-90dc-56594dbc3f3f" providerId="ADAL" clId="{EEC63FDC-2D3F-466F-A8EF-ABF4BA6F81E8}" dt="2021-09-09T15:35:36.165" v="765" actId="14100"/>
        <pc:sldMkLst>
          <pc:docMk/>
          <pc:sldMk cId="3984142822" sldId="11297"/>
        </pc:sldMkLst>
        <pc:spChg chg="mod">
          <ac:chgData name="CAUSSIDOU, Fabienne" userId="d3b93ce2-b4f2-4ea8-90dc-56594dbc3f3f" providerId="ADAL" clId="{EEC63FDC-2D3F-466F-A8EF-ABF4BA6F81E8}" dt="2021-09-09T09:23:07.223" v="702" actId="20577"/>
          <ac:spMkLst>
            <pc:docMk/>
            <pc:sldMk cId="3984142822" sldId="11297"/>
            <ac:spMk id="2" creationId="{2E7C573B-750B-4FD4-B8CE-AB955A21BB24}"/>
          </ac:spMkLst>
        </pc:spChg>
        <pc:spChg chg="mod">
          <ac:chgData name="CAUSSIDOU, Fabienne" userId="d3b93ce2-b4f2-4ea8-90dc-56594dbc3f3f" providerId="ADAL" clId="{EEC63FDC-2D3F-466F-A8EF-ABF4BA6F81E8}" dt="2021-09-09T15:35:36.165" v="765" actId="14100"/>
          <ac:spMkLst>
            <pc:docMk/>
            <pc:sldMk cId="3984142822" sldId="11297"/>
            <ac:spMk id="5" creationId="{2D24385A-A44C-49AA-B52B-EC74C2C0C4B8}"/>
          </ac:spMkLst>
        </pc:spChg>
        <pc:picChg chg="add mod">
          <ac:chgData name="CAUSSIDOU, Fabienne" userId="d3b93ce2-b4f2-4ea8-90dc-56594dbc3f3f" providerId="ADAL" clId="{EEC63FDC-2D3F-466F-A8EF-ABF4BA6F81E8}" dt="2021-09-09T15:35:33.934" v="764" actId="1076"/>
          <ac:picMkLst>
            <pc:docMk/>
            <pc:sldMk cId="3984142822" sldId="11297"/>
            <ac:picMk id="4" creationId="{EAC38406-D32A-4C36-8A6D-2FD646161C9F}"/>
          </ac:picMkLst>
        </pc:picChg>
        <pc:picChg chg="del">
          <ac:chgData name="CAUSSIDOU, Fabienne" userId="d3b93ce2-b4f2-4ea8-90dc-56594dbc3f3f" providerId="ADAL" clId="{EEC63FDC-2D3F-466F-A8EF-ABF4BA6F81E8}" dt="2021-09-09T09:24:52.443" v="760" actId="478"/>
          <ac:picMkLst>
            <pc:docMk/>
            <pc:sldMk cId="3984142822" sldId="11297"/>
            <ac:picMk id="9" creationId="{783E47A4-1002-4BF7-8A81-5C058CDCC61C}"/>
          </ac:picMkLst>
        </pc:picChg>
        <pc:picChg chg="del">
          <ac:chgData name="CAUSSIDOU, Fabienne" userId="d3b93ce2-b4f2-4ea8-90dc-56594dbc3f3f" providerId="ADAL" clId="{EEC63FDC-2D3F-466F-A8EF-ABF4BA6F81E8}" dt="2021-09-09T09:24:54.177" v="761" actId="478"/>
          <ac:picMkLst>
            <pc:docMk/>
            <pc:sldMk cId="3984142822" sldId="11297"/>
            <ac:picMk id="10" creationId="{916D3C17-CD27-4BC6-999B-E3F9F7F59F05}"/>
          </ac:picMkLst>
        </pc:picChg>
      </pc:sldChg>
      <pc:sldMasterChg chg="modSldLayout">
        <pc:chgData name="CAUSSIDOU, Fabienne" userId="d3b93ce2-b4f2-4ea8-90dc-56594dbc3f3f" providerId="ADAL" clId="{EEC63FDC-2D3F-466F-A8EF-ABF4BA6F81E8}" dt="2021-09-09T08:57:41.371" v="326"/>
        <pc:sldMasterMkLst>
          <pc:docMk/>
          <pc:sldMasterMk cId="286326205" sldId="2147483687"/>
        </pc:sldMasterMkLst>
        <pc:sldLayoutChg chg="setBg">
          <pc:chgData name="CAUSSIDOU, Fabienne" userId="d3b93ce2-b4f2-4ea8-90dc-56594dbc3f3f" providerId="ADAL" clId="{EEC63FDC-2D3F-466F-A8EF-ABF4BA6F81E8}" dt="2021-09-09T08:57:36.233" v="325"/>
          <pc:sldLayoutMkLst>
            <pc:docMk/>
            <pc:sldMasterMk cId="286326205" sldId="2147483687"/>
            <pc:sldLayoutMk cId="1028592717" sldId="2147483688"/>
          </pc:sldLayoutMkLst>
        </pc:sldLayoutChg>
        <pc:sldLayoutChg chg="setBg">
          <pc:chgData name="CAUSSIDOU, Fabienne" userId="d3b93ce2-b4f2-4ea8-90dc-56594dbc3f3f" providerId="ADAL" clId="{EEC63FDC-2D3F-466F-A8EF-ABF4BA6F81E8}" dt="2021-09-09T08:57:41.371" v="326"/>
          <pc:sldLayoutMkLst>
            <pc:docMk/>
            <pc:sldMasterMk cId="286326205" sldId="2147483687"/>
            <pc:sldLayoutMk cId="1073427769" sldId="2147483692"/>
          </pc:sldLayoutMkLst>
        </pc:sldLayoutChg>
      </pc:sldMasterChg>
    </pc:docChg>
  </pc:docChgLst>
  <pc:docChgLst>
    <pc:chgData name="CAUSSIDOU, Fabienne" userId="d3b93ce2-b4f2-4ea8-90dc-56594dbc3f3f" providerId="ADAL" clId="{823277E2-3355-481F-B9B4-CEA109FA052E}"/>
    <pc:docChg chg="undo redo custSel addSld delSld modSld delMainMaster">
      <pc:chgData name="CAUSSIDOU, Fabienne" userId="d3b93ce2-b4f2-4ea8-90dc-56594dbc3f3f" providerId="ADAL" clId="{823277E2-3355-481F-B9B4-CEA109FA052E}" dt="2021-07-26T09:05:53.466" v="726" actId="207"/>
      <pc:docMkLst>
        <pc:docMk/>
      </pc:docMkLst>
      <pc:sldChg chg="addSp delSp modSp add del">
        <pc:chgData name="CAUSSIDOU, Fabienne" userId="d3b93ce2-b4f2-4ea8-90dc-56594dbc3f3f" providerId="ADAL" clId="{823277E2-3355-481F-B9B4-CEA109FA052E}" dt="2021-07-26T09:01:11.224" v="486" actId="2696"/>
        <pc:sldMkLst>
          <pc:docMk/>
          <pc:sldMk cId="0" sldId="341"/>
        </pc:sldMkLst>
        <pc:spChg chg="del mod">
          <ac:chgData name="CAUSSIDOU, Fabienne" userId="d3b93ce2-b4f2-4ea8-90dc-56594dbc3f3f" providerId="ADAL" clId="{823277E2-3355-481F-B9B4-CEA109FA052E}" dt="2021-07-26T08:56:02.382" v="382"/>
          <ac:spMkLst>
            <pc:docMk/>
            <pc:sldMk cId="0" sldId="341"/>
            <ac:spMk id="5" creationId="{8A748516-5FB1-4488-BA09-1437F021C900}"/>
          </ac:spMkLst>
        </pc:spChg>
        <pc:spChg chg="mod topLvl">
          <ac:chgData name="CAUSSIDOU, Fabienne" userId="d3b93ce2-b4f2-4ea8-90dc-56594dbc3f3f" providerId="ADAL" clId="{823277E2-3355-481F-B9B4-CEA109FA052E}" dt="2021-07-26T08:55:21.469" v="363" actId="164"/>
          <ac:spMkLst>
            <pc:docMk/>
            <pc:sldMk cId="0" sldId="341"/>
            <ac:spMk id="58" creationId="{50E80F29-1C86-497C-BF49-48A7628F9DE3}"/>
          </ac:spMkLst>
        </pc:spChg>
        <pc:spChg chg="add del">
          <ac:chgData name="CAUSSIDOU, Fabienne" userId="d3b93ce2-b4f2-4ea8-90dc-56594dbc3f3f" providerId="ADAL" clId="{823277E2-3355-481F-B9B4-CEA109FA052E}" dt="2021-07-26T08:47:32.233" v="203"/>
          <ac:spMkLst>
            <pc:docMk/>
            <pc:sldMk cId="0" sldId="341"/>
            <ac:spMk id="59" creationId="{888CECA5-87B4-4EE3-B212-4BB30C4F3D2C}"/>
          </ac:spMkLst>
        </pc:spChg>
        <pc:spChg chg="mod">
          <ac:chgData name="CAUSSIDOU, Fabienne" userId="d3b93ce2-b4f2-4ea8-90dc-56594dbc3f3f" providerId="ADAL" clId="{823277E2-3355-481F-B9B4-CEA109FA052E}" dt="2021-07-26T08:53:26.330" v="347" actId="1076"/>
          <ac:spMkLst>
            <pc:docMk/>
            <pc:sldMk cId="0" sldId="341"/>
            <ac:spMk id="62" creationId="{EE381E83-7F5E-42BE-AB81-647190F0C9DD}"/>
          </ac:spMkLst>
        </pc:spChg>
        <pc:spChg chg="mod">
          <ac:chgData name="CAUSSIDOU, Fabienne" userId="d3b93ce2-b4f2-4ea8-90dc-56594dbc3f3f" providerId="ADAL" clId="{823277E2-3355-481F-B9B4-CEA109FA052E}" dt="2021-07-26T08:50:58.710" v="318" actId="14100"/>
          <ac:spMkLst>
            <pc:docMk/>
            <pc:sldMk cId="0" sldId="341"/>
            <ac:spMk id="63" creationId="{A1DF8CD5-4AEA-4CB3-981A-96154069F92C}"/>
          </ac:spMkLst>
        </pc:spChg>
        <pc:spChg chg="del">
          <ac:chgData name="CAUSSIDOU, Fabienne" userId="d3b93ce2-b4f2-4ea8-90dc-56594dbc3f3f" providerId="ADAL" clId="{823277E2-3355-481F-B9B4-CEA109FA052E}" dt="2021-07-26T08:49:13.864" v="270" actId="478"/>
          <ac:spMkLst>
            <pc:docMk/>
            <pc:sldMk cId="0" sldId="341"/>
            <ac:spMk id="64" creationId="{C3D1969E-6431-4EB9-AC8A-2053D08BEB75}"/>
          </ac:spMkLst>
        </pc:spChg>
        <pc:spChg chg="mod topLvl">
          <ac:chgData name="CAUSSIDOU, Fabienne" userId="d3b93ce2-b4f2-4ea8-90dc-56594dbc3f3f" providerId="ADAL" clId="{823277E2-3355-481F-B9B4-CEA109FA052E}" dt="2021-07-26T08:55:21.469" v="363" actId="164"/>
          <ac:spMkLst>
            <pc:docMk/>
            <pc:sldMk cId="0" sldId="341"/>
            <ac:spMk id="88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3:54.169" v="350" actId="1076"/>
          <ac:spMkLst>
            <pc:docMk/>
            <pc:sldMk cId="0" sldId="341"/>
            <ac:spMk id="108" creationId="{00000000-0000-0000-0000-000000000000}"/>
          </ac:spMkLst>
        </pc:spChg>
        <pc:spChg chg="del mod topLvl">
          <ac:chgData name="CAUSSIDOU, Fabienne" userId="d3b93ce2-b4f2-4ea8-90dc-56594dbc3f3f" providerId="ADAL" clId="{823277E2-3355-481F-B9B4-CEA109FA052E}" dt="2021-07-26T08:47:36.274" v="204" actId="478"/>
          <ac:spMkLst>
            <pc:docMk/>
            <pc:sldMk cId="0" sldId="341"/>
            <ac:spMk id="126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1:06.897" v="319" actId="1076"/>
          <ac:spMkLst>
            <pc:docMk/>
            <pc:sldMk cId="0" sldId="341"/>
            <ac:spMk id="160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3:31.604" v="348" actId="1076"/>
          <ac:spMkLst>
            <pc:docMk/>
            <pc:sldMk cId="0" sldId="341"/>
            <ac:spMk id="13314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3:14.690" v="345" actId="1076"/>
          <ac:spMkLst>
            <pc:docMk/>
            <pc:sldMk cId="0" sldId="341"/>
            <ac:spMk id="13316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1:53.118" v="330" actId="255"/>
          <ac:spMkLst>
            <pc:docMk/>
            <pc:sldMk cId="0" sldId="341"/>
            <ac:spMk id="13318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4:24.106" v="355" actId="1076"/>
          <ac:spMkLst>
            <pc:docMk/>
            <pc:sldMk cId="0" sldId="341"/>
            <ac:spMk id="13320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1:43.979" v="326" actId="255"/>
          <ac:spMkLst>
            <pc:docMk/>
            <pc:sldMk cId="0" sldId="341"/>
            <ac:spMk id="13322" creationId="{00000000-0000-0000-0000-000000000000}"/>
          </ac:spMkLst>
        </pc:spChg>
        <pc:spChg chg="del mod topLvl">
          <ac:chgData name="CAUSSIDOU, Fabienne" userId="d3b93ce2-b4f2-4ea8-90dc-56594dbc3f3f" providerId="ADAL" clId="{823277E2-3355-481F-B9B4-CEA109FA052E}" dt="2021-07-26T08:47:44.601" v="208" actId="478"/>
          <ac:spMkLst>
            <pc:docMk/>
            <pc:sldMk cId="0" sldId="341"/>
            <ac:spMk id="13327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0:38.257" v="313" actId="1076"/>
          <ac:spMkLst>
            <pc:docMk/>
            <pc:sldMk cId="0" sldId="341"/>
            <ac:spMk id="13328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5:05.100" v="360" actId="14100"/>
          <ac:spMkLst>
            <pc:docMk/>
            <pc:sldMk cId="0" sldId="341"/>
            <ac:spMk id="13330" creationId="{00000000-0000-0000-0000-000000000000}"/>
          </ac:spMkLst>
        </pc:spChg>
        <pc:spChg chg="mod ord">
          <ac:chgData name="CAUSSIDOU, Fabienne" userId="d3b93ce2-b4f2-4ea8-90dc-56594dbc3f3f" providerId="ADAL" clId="{823277E2-3355-481F-B9B4-CEA109FA052E}" dt="2021-07-26T08:53:39.439" v="349" actId="1076"/>
          <ac:spMkLst>
            <pc:docMk/>
            <pc:sldMk cId="0" sldId="341"/>
            <ac:spMk id="13335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0:53.829" v="316" actId="1076"/>
          <ac:spMkLst>
            <pc:docMk/>
            <pc:sldMk cId="0" sldId="341"/>
            <ac:spMk id="13339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3:20.093" v="346" actId="1076"/>
          <ac:spMkLst>
            <pc:docMk/>
            <pc:sldMk cId="0" sldId="341"/>
            <ac:spMk id="13340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0:50.574" v="315" actId="1076"/>
          <ac:spMkLst>
            <pc:docMk/>
            <pc:sldMk cId="0" sldId="341"/>
            <ac:spMk id="13346" creationId="{00000000-0000-0000-0000-000000000000}"/>
          </ac:spMkLst>
        </pc:spChg>
        <pc:spChg chg="del mod topLvl">
          <ac:chgData name="CAUSSIDOU, Fabienne" userId="d3b93ce2-b4f2-4ea8-90dc-56594dbc3f3f" providerId="ADAL" clId="{823277E2-3355-481F-B9B4-CEA109FA052E}" dt="2021-07-26T08:52:35.135" v="340" actId="478"/>
          <ac:spMkLst>
            <pc:docMk/>
            <pc:sldMk cId="0" sldId="341"/>
            <ac:spMk id="13347" creationId="{00000000-0000-0000-0000-000000000000}"/>
          </ac:spMkLst>
        </pc:spChg>
        <pc:spChg chg="mod">
          <ac:chgData name="CAUSSIDOU, Fabienne" userId="d3b93ce2-b4f2-4ea8-90dc-56594dbc3f3f" providerId="ADAL" clId="{823277E2-3355-481F-B9B4-CEA109FA052E}" dt="2021-07-26T08:50:45.624" v="314" actId="1076"/>
          <ac:spMkLst>
            <pc:docMk/>
            <pc:sldMk cId="0" sldId="341"/>
            <ac:spMk id="13350" creationId="{00000000-0000-0000-0000-000000000000}"/>
          </ac:spMkLst>
        </pc:s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2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3" creationId="{00000000-0000-0000-0000-000000000000}"/>
          </ac:grpSpMkLst>
        </pc:grpChg>
        <pc:grpChg chg="mod">
          <ac:chgData name="CAUSSIDOU, Fabienne" userId="d3b93ce2-b4f2-4ea8-90dc-56594dbc3f3f" providerId="ADAL" clId="{823277E2-3355-481F-B9B4-CEA109FA052E}" dt="2021-07-26T08:54:46.877" v="359" actId="553"/>
          <ac:grpSpMkLst>
            <pc:docMk/>
            <pc:sldMk cId="0" sldId="341"/>
            <ac:grpSpMk id="4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6" creationId="{00000000-0000-0000-0000-000000000000}"/>
          </ac:grpSpMkLst>
        </pc:grpChg>
        <pc:grpChg chg="add del mod">
          <ac:chgData name="CAUSSIDOU, Fabienne" userId="d3b93ce2-b4f2-4ea8-90dc-56594dbc3f3f" providerId="ADAL" clId="{823277E2-3355-481F-B9B4-CEA109FA052E}" dt="2021-07-26T08:46:16.938" v="186" actId="165"/>
          <ac:grpSpMkLst>
            <pc:docMk/>
            <pc:sldMk cId="0" sldId="341"/>
            <ac:grpSpMk id="7" creationId="{DFE177A0-A1AB-49DF-8ECF-4A99287156B3}"/>
          </ac:grpSpMkLst>
        </pc:grpChg>
        <pc:grpChg chg="del topLvl">
          <ac:chgData name="CAUSSIDOU, Fabienne" userId="d3b93ce2-b4f2-4ea8-90dc-56594dbc3f3f" providerId="ADAL" clId="{823277E2-3355-481F-B9B4-CEA109FA052E}" dt="2021-07-26T08:47:44.601" v="208" actId="478"/>
          <ac:grpSpMkLst>
            <pc:docMk/>
            <pc:sldMk cId="0" sldId="341"/>
            <ac:grpSpMk id="8" creationId="{00000000-0000-0000-0000-000000000000}"/>
          </ac:grpSpMkLst>
        </pc:grpChg>
        <pc:grpChg chg="del mod topLvl">
          <ac:chgData name="CAUSSIDOU, Fabienne" userId="d3b93ce2-b4f2-4ea8-90dc-56594dbc3f3f" providerId="ADAL" clId="{823277E2-3355-481F-B9B4-CEA109FA052E}" dt="2021-07-26T08:47:36.274" v="204" actId="478"/>
          <ac:grpSpMkLst>
            <pc:docMk/>
            <pc:sldMk cId="0" sldId="341"/>
            <ac:grpSpMk id="9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0" creationId="{00000000-0000-0000-0000-000000000000}"/>
          </ac:grpSpMkLst>
        </pc:grpChg>
        <pc:grpChg chg="mod or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1" creationId="{00000000-0000-0000-0000-000000000000}"/>
          </ac:grpSpMkLst>
        </pc:grpChg>
        <pc:grpChg chg="add del mod">
          <ac:chgData name="CAUSSIDOU, Fabienne" userId="d3b93ce2-b4f2-4ea8-90dc-56594dbc3f3f" providerId="ADAL" clId="{823277E2-3355-481F-B9B4-CEA109FA052E}" dt="2021-07-26T08:56:02.382" v="382"/>
          <ac:grpSpMkLst>
            <pc:docMk/>
            <pc:sldMk cId="0" sldId="341"/>
            <ac:grpSpMk id="12" creationId="{EFF75F00-721F-414B-8855-A69BDF3C3C64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3" creationId="{00000000-0000-0000-0000-000000000000}"/>
          </ac:grpSpMkLst>
        </pc:grpChg>
        <pc:grpChg chg="mod">
          <ac:chgData name="CAUSSIDOU, Fabienne" userId="d3b93ce2-b4f2-4ea8-90dc-56594dbc3f3f" providerId="ADAL" clId="{823277E2-3355-481F-B9B4-CEA109FA052E}" dt="2021-07-26T08:53:01.771" v="344" actId="552"/>
          <ac:grpSpMkLst>
            <pc:docMk/>
            <pc:sldMk cId="0" sldId="341"/>
            <ac:grpSpMk id="14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7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8" creationId="{00000000-0000-0000-0000-000000000000}"/>
          </ac:grpSpMkLst>
        </pc:grpChg>
        <pc:grpChg chg="mod topLvl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19" creationId="{00000000-0000-0000-0000-000000000000}"/>
          </ac:grpSpMkLst>
        </pc:grpChg>
        <pc:grpChg chg="add mod ord">
          <ac:chgData name="CAUSSIDOU, Fabienne" userId="d3b93ce2-b4f2-4ea8-90dc-56594dbc3f3f" providerId="ADAL" clId="{823277E2-3355-481F-B9B4-CEA109FA052E}" dt="2021-07-26T08:55:21.469" v="363" actId="164"/>
          <ac:grpSpMkLst>
            <pc:docMk/>
            <pc:sldMk cId="0" sldId="341"/>
            <ac:grpSpMk id="60" creationId="{19DBFECE-8F4D-4558-9D97-9FD3CAEECAA9}"/>
          </ac:grpSpMkLst>
        </pc:grpChg>
        <pc:grpChg chg="mod">
          <ac:chgData name="CAUSSIDOU, Fabienne" userId="d3b93ce2-b4f2-4ea8-90dc-56594dbc3f3f" providerId="ADAL" clId="{823277E2-3355-481F-B9B4-CEA109FA052E}" dt="2021-07-26T08:54:46.877" v="359" actId="553"/>
          <ac:grpSpMkLst>
            <pc:docMk/>
            <pc:sldMk cId="0" sldId="341"/>
            <ac:grpSpMk id="100" creationId="{00000000-0000-0000-0000-000000000000}"/>
          </ac:grpSpMkLst>
        </pc:grpChg>
        <pc:grpChg chg="mod">
          <ac:chgData name="CAUSSIDOU, Fabienne" userId="d3b93ce2-b4f2-4ea8-90dc-56594dbc3f3f" providerId="ADAL" clId="{823277E2-3355-481F-B9B4-CEA109FA052E}" dt="2021-07-26T08:54:46.877" v="359" actId="553"/>
          <ac:grpSpMkLst>
            <pc:docMk/>
            <pc:sldMk cId="0" sldId="341"/>
            <ac:grpSpMk id="106" creationId="{00000000-0000-0000-0000-000000000000}"/>
          </ac:grpSpMkLst>
        </pc:grpChg>
      </pc:sldChg>
      <pc:sldChg chg="del">
        <pc:chgData name="CAUSSIDOU, Fabienne" userId="d3b93ce2-b4f2-4ea8-90dc-56594dbc3f3f" providerId="ADAL" clId="{823277E2-3355-481F-B9B4-CEA109FA052E}" dt="2021-07-26T07:58:20.176" v="7" actId="2696"/>
        <pc:sldMkLst>
          <pc:docMk/>
          <pc:sldMk cId="3828858339" sldId="10542"/>
        </pc:sldMkLst>
      </pc:sldChg>
      <pc:sldChg chg="addSp delSp modSp">
        <pc:chgData name="CAUSSIDOU, Fabienne" userId="d3b93ce2-b4f2-4ea8-90dc-56594dbc3f3f" providerId="ADAL" clId="{823277E2-3355-481F-B9B4-CEA109FA052E}" dt="2021-07-26T08:19:50.109" v="136" actId="207"/>
        <pc:sldMkLst>
          <pc:docMk/>
          <pc:sldMk cId="4189311133" sldId="10565"/>
        </pc:sldMkLst>
        <pc:spChg chg="mod">
          <ac:chgData name="CAUSSIDOU, Fabienne" userId="d3b93ce2-b4f2-4ea8-90dc-56594dbc3f3f" providerId="ADAL" clId="{823277E2-3355-481F-B9B4-CEA109FA052E}" dt="2021-07-26T08:09:54.970" v="81" actId="1076"/>
          <ac:spMkLst>
            <pc:docMk/>
            <pc:sldMk cId="4189311133" sldId="10565"/>
            <ac:spMk id="7" creationId="{F9C472FC-72CB-496B-86BB-008D3DD07469}"/>
          </ac:spMkLst>
        </pc:spChg>
        <pc:picChg chg="add del mod">
          <ac:chgData name="CAUSSIDOU, Fabienne" userId="d3b93ce2-b4f2-4ea8-90dc-56594dbc3f3f" providerId="ADAL" clId="{823277E2-3355-481F-B9B4-CEA109FA052E}" dt="2021-07-26T08:08:54.775" v="73" actId="478"/>
          <ac:picMkLst>
            <pc:docMk/>
            <pc:sldMk cId="4189311133" sldId="10565"/>
            <ac:picMk id="4" creationId="{3C2D3D20-3FC0-4FE6-8E61-26013D531D8E}"/>
          </ac:picMkLst>
        </pc:picChg>
        <pc:picChg chg="add del">
          <ac:chgData name="CAUSSIDOU, Fabienne" userId="d3b93ce2-b4f2-4ea8-90dc-56594dbc3f3f" providerId="ADAL" clId="{823277E2-3355-481F-B9B4-CEA109FA052E}" dt="2021-07-26T08:09:12.350" v="75" actId="478"/>
          <ac:picMkLst>
            <pc:docMk/>
            <pc:sldMk cId="4189311133" sldId="10565"/>
            <ac:picMk id="6" creationId="{AA6849BF-4017-4A9C-BE7D-748065BA4E60}"/>
          </ac:picMkLst>
        </pc:picChg>
        <pc:picChg chg="del">
          <ac:chgData name="CAUSSIDOU, Fabienne" userId="d3b93ce2-b4f2-4ea8-90dc-56594dbc3f3f" providerId="ADAL" clId="{823277E2-3355-481F-B9B4-CEA109FA052E}" dt="2021-07-26T08:08:36.046" v="64" actId="478"/>
          <ac:picMkLst>
            <pc:docMk/>
            <pc:sldMk cId="4189311133" sldId="10565"/>
            <ac:picMk id="8" creationId="{3884A4F7-6A1B-40F9-B7C0-C29E4B309E05}"/>
          </ac:picMkLst>
        </pc:picChg>
        <pc:picChg chg="add del mod">
          <ac:chgData name="CAUSSIDOU, Fabienne" userId="d3b93ce2-b4f2-4ea8-90dc-56594dbc3f3f" providerId="ADAL" clId="{823277E2-3355-481F-B9B4-CEA109FA052E}" dt="2021-07-26T08:10:12.952" v="83" actId="478"/>
          <ac:picMkLst>
            <pc:docMk/>
            <pc:sldMk cId="4189311133" sldId="10565"/>
            <ac:picMk id="9" creationId="{26DF3C77-213E-42DD-A0FF-7959B16C6474}"/>
          </ac:picMkLst>
        </pc:picChg>
        <pc:picChg chg="add del mod">
          <ac:chgData name="CAUSSIDOU, Fabienne" userId="d3b93ce2-b4f2-4ea8-90dc-56594dbc3f3f" providerId="ADAL" clId="{823277E2-3355-481F-B9B4-CEA109FA052E}" dt="2021-07-26T08:14:47.439" v="126" actId="478"/>
          <ac:picMkLst>
            <pc:docMk/>
            <pc:sldMk cId="4189311133" sldId="10565"/>
            <ac:picMk id="10" creationId="{9D21C4B0-0626-4919-B8D8-8EF467822550}"/>
          </ac:picMkLst>
        </pc:picChg>
        <pc:picChg chg="add del mod">
          <ac:chgData name="CAUSSIDOU, Fabienne" userId="d3b93ce2-b4f2-4ea8-90dc-56594dbc3f3f" providerId="ADAL" clId="{823277E2-3355-481F-B9B4-CEA109FA052E}" dt="2021-07-26T08:19:40.923" v="132" actId="478"/>
          <ac:picMkLst>
            <pc:docMk/>
            <pc:sldMk cId="4189311133" sldId="10565"/>
            <ac:picMk id="11" creationId="{6CC27E5C-C482-40D4-97B4-1F1BE6703AEA}"/>
          </ac:picMkLst>
        </pc:picChg>
        <pc:picChg chg="add mod">
          <ac:chgData name="CAUSSIDOU, Fabienne" userId="d3b93ce2-b4f2-4ea8-90dc-56594dbc3f3f" providerId="ADAL" clId="{823277E2-3355-481F-B9B4-CEA109FA052E}" dt="2021-07-26T08:19:50.109" v="136" actId="207"/>
          <ac:picMkLst>
            <pc:docMk/>
            <pc:sldMk cId="4189311133" sldId="10565"/>
            <ac:picMk id="13" creationId="{474F8461-0501-4726-9DB9-C087A714F388}"/>
          </ac:picMkLst>
        </pc:picChg>
      </pc:sldChg>
      <pc:sldChg chg="addSp delSp modSp">
        <pc:chgData name="CAUSSIDOU, Fabienne" userId="d3b93ce2-b4f2-4ea8-90dc-56594dbc3f3f" providerId="ADAL" clId="{823277E2-3355-481F-B9B4-CEA109FA052E}" dt="2021-07-26T08:21:51.705" v="146" actId="478"/>
        <pc:sldMkLst>
          <pc:docMk/>
          <pc:sldMk cId="637291491" sldId="10566"/>
        </pc:sldMkLst>
        <pc:picChg chg="add del mod">
          <ac:chgData name="CAUSSIDOU, Fabienne" userId="d3b93ce2-b4f2-4ea8-90dc-56594dbc3f3f" providerId="ADAL" clId="{823277E2-3355-481F-B9B4-CEA109FA052E}" dt="2021-07-26T08:21:51.705" v="146" actId="478"/>
          <ac:picMkLst>
            <pc:docMk/>
            <pc:sldMk cId="637291491" sldId="10566"/>
            <ac:picMk id="4" creationId="{59E253D4-8B91-4DDD-937C-96BAA01D85FC}"/>
          </ac:picMkLst>
        </pc:picChg>
        <pc:picChg chg="add del">
          <ac:chgData name="CAUSSIDOU, Fabienne" userId="d3b93ce2-b4f2-4ea8-90dc-56594dbc3f3f" providerId="ADAL" clId="{823277E2-3355-481F-B9B4-CEA109FA052E}" dt="2021-07-26T08:14:29.705" v="117"/>
          <ac:picMkLst>
            <pc:docMk/>
            <pc:sldMk cId="637291491" sldId="10566"/>
            <ac:picMk id="5" creationId="{66D7B36A-176E-4DBB-80C5-4B381D372200}"/>
          </ac:picMkLst>
        </pc:picChg>
        <pc:picChg chg="add del mod">
          <ac:chgData name="CAUSSIDOU, Fabienne" userId="d3b93ce2-b4f2-4ea8-90dc-56594dbc3f3f" providerId="ADAL" clId="{823277E2-3355-481F-B9B4-CEA109FA052E}" dt="2021-07-26T08:14:28.647" v="115"/>
          <ac:picMkLst>
            <pc:docMk/>
            <pc:sldMk cId="637291491" sldId="10566"/>
            <ac:picMk id="6" creationId="{87F5A32A-8F09-422B-BF28-A3018B5CF7AE}"/>
          </ac:picMkLst>
        </pc:picChg>
        <pc:picChg chg="add del mod">
          <ac:chgData name="CAUSSIDOU, Fabienne" userId="d3b93ce2-b4f2-4ea8-90dc-56594dbc3f3f" providerId="ADAL" clId="{823277E2-3355-481F-B9B4-CEA109FA052E}" dt="2021-07-26T08:14:25.492" v="110"/>
          <ac:picMkLst>
            <pc:docMk/>
            <pc:sldMk cId="637291491" sldId="10566"/>
            <ac:picMk id="8" creationId="{69509FA4-DA34-43B6-B151-B9A0FBB24FE9}"/>
          </ac:picMkLst>
        </pc:picChg>
        <pc:picChg chg="add mod">
          <ac:chgData name="CAUSSIDOU, Fabienne" userId="d3b93ce2-b4f2-4ea8-90dc-56594dbc3f3f" providerId="ADAL" clId="{823277E2-3355-481F-B9B4-CEA109FA052E}" dt="2021-07-26T08:21:06.726" v="145" actId="1076"/>
          <ac:picMkLst>
            <pc:docMk/>
            <pc:sldMk cId="637291491" sldId="10566"/>
            <ac:picMk id="9" creationId="{7BE90ACA-BB61-48E8-8649-81A02DA03DDF}"/>
          </ac:picMkLst>
        </pc:picChg>
      </pc:sldChg>
      <pc:sldChg chg="addSp delSp modSp">
        <pc:chgData name="CAUSSIDOU, Fabienne" userId="d3b93ce2-b4f2-4ea8-90dc-56594dbc3f3f" providerId="ADAL" clId="{823277E2-3355-481F-B9B4-CEA109FA052E}" dt="2021-07-26T08:03:19.736" v="62"/>
        <pc:sldMkLst>
          <pc:docMk/>
          <pc:sldMk cId="3658440839" sldId="10810"/>
        </pc:sldMkLst>
        <pc:spChg chg="add del mod">
          <ac:chgData name="CAUSSIDOU, Fabienne" userId="d3b93ce2-b4f2-4ea8-90dc-56594dbc3f3f" providerId="ADAL" clId="{823277E2-3355-481F-B9B4-CEA109FA052E}" dt="2021-07-26T08:01:50.996" v="35" actId="478"/>
          <ac:spMkLst>
            <pc:docMk/>
            <pc:sldMk cId="3658440839" sldId="10810"/>
            <ac:spMk id="4" creationId="{F8E3E828-15A1-46B9-95F0-4E6D14E3DE22}"/>
          </ac:spMkLst>
        </pc:spChg>
        <pc:spChg chg="add mod">
          <ac:chgData name="CAUSSIDOU, Fabienne" userId="d3b93ce2-b4f2-4ea8-90dc-56594dbc3f3f" providerId="ADAL" clId="{823277E2-3355-481F-B9B4-CEA109FA052E}" dt="2021-07-26T08:02:21.928" v="54" actId="478"/>
          <ac:spMkLst>
            <pc:docMk/>
            <pc:sldMk cId="3658440839" sldId="10810"/>
            <ac:spMk id="8" creationId="{47DFD30A-2ED7-4252-AB1F-37E3A83E5333}"/>
          </ac:spMkLst>
        </pc:spChg>
        <pc:picChg chg="add del">
          <ac:chgData name="CAUSSIDOU, Fabienne" userId="d3b93ce2-b4f2-4ea8-90dc-56594dbc3f3f" providerId="ADAL" clId="{823277E2-3355-481F-B9B4-CEA109FA052E}" dt="2021-07-26T08:02:21.928" v="54" actId="478"/>
          <ac:picMkLst>
            <pc:docMk/>
            <pc:sldMk cId="3658440839" sldId="10810"/>
            <ac:picMk id="5" creationId="{33825656-7BD4-4CB2-9884-2EC4C9FA541A}"/>
          </ac:picMkLst>
        </pc:picChg>
        <pc:picChg chg="add">
          <ac:chgData name="CAUSSIDOU, Fabienne" userId="d3b93ce2-b4f2-4ea8-90dc-56594dbc3f3f" providerId="ADAL" clId="{823277E2-3355-481F-B9B4-CEA109FA052E}" dt="2021-07-26T08:03:19.736" v="62"/>
          <ac:picMkLst>
            <pc:docMk/>
            <pc:sldMk cId="3658440839" sldId="10810"/>
            <ac:picMk id="9" creationId="{7EFE3D8E-294A-49F7-B811-503BEE366532}"/>
          </ac:picMkLst>
        </pc:picChg>
      </pc:sldChg>
      <pc:sldChg chg="addSp delSp modSp add del">
        <pc:chgData name="CAUSSIDOU, Fabienne" userId="d3b93ce2-b4f2-4ea8-90dc-56594dbc3f3f" providerId="ADAL" clId="{823277E2-3355-481F-B9B4-CEA109FA052E}" dt="2021-07-26T08:02:47.420" v="56"/>
        <pc:sldMkLst>
          <pc:docMk/>
          <pc:sldMk cId="3526743404" sldId="10831"/>
        </pc:sldMkLst>
        <pc:spChg chg="mod">
          <ac:chgData name="CAUSSIDOU, Fabienne" userId="d3b93ce2-b4f2-4ea8-90dc-56594dbc3f3f" providerId="ADAL" clId="{823277E2-3355-481F-B9B4-CEA109FA052E}" dt="2021-07-26T07:58:36.974" v="9"/>
          <ac:spMkLst>
            <pc:docMk/>
            <pc:sldMk cId="3526743404" sldId="10831"/>
            <ac:spMk id="2" creationId="{BF2CA779-8850-43E8-B0D8-47FE7A773A70}"/>
          </ac:spMkLst>
        </pc:spChg>
        <pc:spChg chg="add mod">
          <ac:chgData name="CAUSSIDOU, Fabienne" userId="d3b93ce2-b4f2-4ea8-90dc-56594dbc3f3f" providerId="ADAL" clId="{823277E2-3355-481F-B9B4-CEA109FA052E}" dt="2021-07-26T08:02:10.254" v="50" actId="478"/>
          <ac:spMkLst>
            <pc:docMk/>
            <pc:sldMk cId="3526743404" sldId="10831"/>
            <ac:spMk id="5" creationId="{EEC69B4D-2C9F-4997-A859-0587DBE1CA47}"/>
          </ac:spMkLst>
        </pc:spChg>
        <pc:picChg chg="del">
          <ac:chgData name="CAUSSIDOU, Fabienne" userId="d3b93ce2-b4f2-4ea8-90dc-56594dbc3f3f" providerId="ADAL" clId="{823277E2-3355-481F-B9B4-CEA109FA052E}" dt="2021-07-26T08:02:10.254" v="50" actId="478"/>
          <ac:picMkLst>
            <pc:docMk/>
            <pc:sldMk cId="3526743404" sldId="10831"/>
            <ac:picMk id="7" creationId="{3717F9CE-1B4A-46D2-94B7-25C7ECD75754}"/>
          </ac:picMkLst>
        </pc:picChg>
        <pc:picChg chg="add">
          <ac:chgData name="CAUSSIDOU, Fabienne" userId="d3b93ce2-b4f2-4ea8-90dc-56594dbc3f3f" providerId="ADAL" clId="{823277E2-3355-481F-B9B4-CEA109FA052E}" dt="2021-07-26T08:02:47.420" v="56"/>
          <ac:picMkLst>
            <pc:docMk/>
            <pc:sldMk cId="3526743404" sldId="10831"/>
            <ac:picMk id="8" creationId="{8FEC8912-E99C-498B-B497-D98B7CE2B6B9}"/>
          </ac:picMkLst>
        </pc:picChg>
      </pc:sldChg>
      <pc:sldChg chg="addSp modSp">
        <pc:chgData name="CAUSSIDOU, Fabienne" userId="d3b93ce2-b4f2-4ea8-90dc-56594dbc3f3f" providerId="ADAL" clId="{823277E2-3355-481F-B9B4-CEA109FA052E}" dt="2021-07-26T09:05:29.317" v="692" actId="1035"/>
        <pc:sldMkLst>
          <pc:docMk/>
          <pc:sldMk cId="463155329" sldId="10838"/>
        </pc:sldMkLst>
        <pc:spChg chg="add mod">
          <ac:chgData name="CAUSSIDOU, Fabienne" userId="d3b93ce2-b4f2-4ea8-90dc-56594dbc3f3f" providerId="ADAL" clId="{823277E2-3355-481F-B9B4-CEA109FA052E}" dt="2021-07-26T09:05:29.317" v="692" actId="1035"/>
          <ac:spMkLst>
            <pc:docMk/>
            <pc:sldMk cId="463155329" sldId="10838"/>
            <ac:spMk id="7" creationId="{8E2A48CF-EA1A-4695-9866-3474327766B7}"/>
          </ac:spMkLst>
        </pc:spChg>
      </pc:sldChg>
      <pc:sldChg chg="addSp delSp modSp">
        <pc:chgData name="CAUSSIDOU, Fabienne" userId="d3b93ce2-b4f2-4ea8-90dc-56594dbc3f3f" providerId="ADAL" clId="{823277E2-3355-481F-B9B4-CEA109FA052E}" dt="2021-07-26T08:03:08.083" v="60"/>
        <pc:sldMkLst>
          <pc:docMk/>
          <pc:sldMk cId="2193808527" sldId="10884"/>
        </pc:sldMkLst>
        <pc:spChg chg="add del">
          <ac:chgData name="CAUSSIDOU, Fabienne" userId="d3b93ce2-b4f2-4ea8-90dc-56594dbc3f3f" providerId="ADAL" clId="{823277E2-3355-481F-B9B4-CEA109FA052E}" dt="2021-07-26T08:03:08.083" v="60"/>
          <ac:spMkLst>
            <pc:docMk/>
            <pc:sldMk cId="2193808527" sldId="10884"/>
            <ac:spMk id="5" creationId="{85CE237D-B519-4489-B20A-E61F7685B98A}"/>
          </ac:spMkLst>
        </pc:spChg>
        <pc:picChg chg="add del">
          <ac:chgData name="CAUSSIDOU, Fabienne" userId="d3b93ce2-b4f2-4ea8-90dc-56594dbc3f3f" providerId="ADAL" clId="{823277E2-3355-481F-B9B4-CEA109FA052E}" dt="2021-07-26T08:02:17.417" v="52" actId="478"/>
          <ac:picMkLst>
            <pc:docMk/>
            <pc:sldMk cId="2193808527" sldId="10884"/>
            <ac:picMk id="8" creationId="{4E2622E1-AABE-47DB-ACA8-6472E5360FCE}"/>
          </ac:picMkLst>
        </pc:picChg>
        <pc:picChg chg="add del">
          <ac:chgData name="CAUSSIDOU, Fabienne" userId="d3b93ce2-b4f2-4ea8-90dc-56594dbc3f3f" providerId="ADAL" clId="{823277E2-3355-481F-B9B4-CEA109FA052E}" dt="2021-07-26T08:01:51.443" v="37"/>
          <ac:picMkLst>
            <pc:docMk/>
            <pc:sldMk cId="2193808527" sldId="10884"/>
            <ac:picMk id="9" creationId="{6F8C1675-A60D-4AA9-BC28-743839F48E2C}"/>
          </ac:picMkLst>
        </pc:picChg>
        <pc:picChg chg="add del mod">
          <ac:chgData name="CAUSSIDOU, Fabienne" userId="d3b93ce2-b4f2-4ea8-90dc-56594dbc3f3f" providerId="ADAL" clId="{823277E2-3355-481F-B9B4-CEA109FA052E}" dt="2021-07-26T08:03:07.257" v="59"/>
          <ac:picMkLst>
            <pc:docMk/>
            <pc:sldMk cId="2193808527" sldId="10884"/>
            <ac:picMk id="10" creationId="{72D2CD8E-E753-4339-8E16-776092D2BCB1}"/>
          </ac:picMkLst>
        </pc:picChg>
        <pc:picChg chg="add mod">
          <ac:chgData name="CAUSSIDOU, Fabienne" userId="d3b93ce2-b4f2-4ea8-90dc-56594dbc3f3f" providerId="ADAL" clId="{823277E2-3355-481F-B9B4-CEA109FA052E}" dt="2021-07-26T08:03:08.083" v="60"/>
          <ac:picMkLst>
            <pc:docMk/>
            <pc:sldMk cId="2193808527" sldId="10884"/>
            <ac:picMk id="11" creationId="{4091A9C9-2E5C-4AB6-BC3B-E836F0DA8F3C}"/>
          </ac:picMkLst>
        </pc:picChg>
      </pc:sldChg>
      <pc:sldChg chg="addSp delSp modSp add del">
        <pc:chgData name="CAUSSIDOU, Fabienne" userId="d3b93ce2-b4f2-4ea8-90dc-56594dbc3f3f" providerId="ADAL" clId="{823277E2-3355-481F-B9B4-CEA109FA052E}" dt="2021-07-26T08:02:50.561" v="57"/>
        <pc:sldMkLst>
          <pc:docMk/>
          <pc:sldMk cId="2108758834" sldId="10895"/>
        </pc:sldMkLst>
        <pc:spChg chg="mod">
          <ac:chgData name="CAUSSIDOU, Fabienne" userId="d3b93ce2-b4f2-4ea8-90dc-56594dbc3f3f" providerId="ADAL" clId="{823277E2-3355-481F-B9B4-CEA109FA052E}" dt="2021-07-26T08:00:11.201" v="20"/>
          <ac:spMkLst>
            <pc:docMk/>
            <pc:sldMk cId="2108758834" sldId="10895"/>
            <ac:spMk id="2" creationId="{BF2CA779-8850-43E8-B0D8-47FE7A773A70}"/>
          </ac:spMkLst>
        </pc:spChg>
        <pc:spChg chg="add mod">
          <ac:chgData name="CAUSSIDOU, Fabienne" userId="d3b93ce2-b4f2-4ea8-90dc-56594dbc3f3f" providerId="ADAL" clId="{823277E2-3355-481F-B9B4-CEA109FA052E}" dt="2021-07-26T08:02:13.488" v="51" actId="478"/>
          <ac:spMkLst>
            <pc:docMk/>
            <pc:sldMk cId="2108758834" sldId="10895"/>
            <ac:spMk id="5" creationId="{AACEA775-8B41-4368-9A1F-FEA09CF78C2B}"/>
          </ac:spMkLst>
        </pc:spChg>
        <pc:picChg chg="del">
          <ac:chgData name="CAUSSIDOU, Fabienne" userId="d3b93ce2-b4f2-4ea8-90dc-56594dbc3f3f" providerId="ADAL" clId="{823277E2-3355-481F-B9B4-CEA109FA052E}" dt="2021-07-26T08:02:13.488" v="51" actId="478"/>
          <ac:picMkLst>
            <pc:docMk/>
            <pc:sldMk cId="2108758834" sldId="10895"/>
            <ac:picMk id="7" creationId="{3717F9CE-1B4A-46D2-94B7-25C7ECD75754}"/>
          </ac:picMkLst>
        </pc:picChg>
        <pc:picChg chg="add">
          <ac:chgData name="CAUSSIDOU, Fabienne" userId="d3b93ce2-b4f2-4ea8-90dc-56594dbc3f3f" providerId="ADAL" clId="{823277E2-3355-481F-B9B4-CEA109FA052E}" dt="2021-07-26T08:02:50.561" v="57"/>
          <ac:picMkLst>
            <pc:docMk/>
            <pc:sldMk cId="2108758834" sldId="10895"/>
            <ac:picMk id="8" creationId="{BE005E2E-566E-4CFC-A022-CB71C01FBA08}"/>
          </ac:picMkLst>
        </pc:picChg>
      </pc:sldChg>
      <pc:sldChg chg="addSp delSp">
        <pc:chgData name="CAUSSIDOU, Fabienne" userId="d3b93ce2-b4f2-4ea8-90dc-56594dbc3f3f" providerId="ADAL" clId="{823277E2-3355-481F-B9B4-CEA109FA052E}" dt="2021-07-26T09:05:02.227" v="682"/>
        <pc:sldMkLst>
          <pc:docMk/>
          <pc:sldMk cId="3618910511" sldId="11265"/>
        </pc:sldMkLst>
        <pc:spChg chg="del">
          <ac:chgData name="CAUSSIDOU, Fabienne" userId="d3b93ce2-b4f2-4ea8-90dc-56594dbc3f3f" providerId="ADAL" clId="{823277E2-3355-481F-B9B4-CEA109FA052E}" dt="2021-07-26T09:05:01.155" v="681" actId="478"/>
          <ac:spMkLst>
            <pc:docMk/>
            <pc:sldMk cId="3618910511" sldId="11265"/>
            <ac:spMk id="3" creationId="{0A042E45-03A3-4A89-91BC-F30FEAA8AA41}"/>
          </ac:spMkLst>
        </pc:spChg>
        <pc:spChg chg="add">
          <ac:chgData name="CAUSSIDOU, Fabienne" userId="d3b93ce2-b4f2-4ea8-90dc-56594dbc3f3f" providerId="ADAL" clId="{823277E2-3355-481F-B9B4-CEA109FA052E}" dt="2021-07-26T09:05:02.227" v="682"/>
          <ac:spMkLst>
            <pc:docMk/>
            <pc:sldMk cId="3618910511" sldId="11265"/>
            <ac:spMk id="10" creationId="{5CA3C053-73B0-453F-9B30-AB04EC19CA8E}"/>
          </ac:spMkLst>
        </pc:spChg>
      </pc:sldChg>
      <pc:sldChg chg="addSp delSp modSp">
        <pc:chgData name="CAUSSIDOU, Fabienne" userId="d3b93ce2-b4f2-4ea8-90dc-56594dbc3f3f" providerId="ADAL" clId="{823277E2-3355-481F-B9B4-CEA109FA052E}" dt="2021-07-26T08:03:12.199" v="61"/>
        <pc:sldMkLst>
          <pc:docMk/>
          <pc:sldMk cId="1994381881" sldId="11269"/>
        </pc:sldMkLst>
        <pc:spChg chg="del">
          <ac:chgData name="CAUSSIDOU, Fabienne" userId="d3b93ce2-b4f2-4ea8-90dc-56594dbc3f3f" providerId="ADAL" clId="{823277E2-3355-481F-B9B4-CEA109FA052E}" dt="2021-07-26T08:03:12.199" v="61"/>
          <ac:spMkLst>
            <pc:docMk/>
            <pc:sldMk cId="1994381881" sldId="11269"/>
            <ac:spMk id="5" creationId="{85CE237D-B519-4489-B20A-E61F7685B98A}"/>
          </ac:spMkLst>
        </pc:spChg>
        <pc:picChg chg="add del">
          <ac:chgData name="CAUSSIDOU, Fabienne" userId="d3b93ce2-b4f2-4ea8-90dc-56594dbc3f3f" providerId="ADAL" clId="{823277E2-3355-481F-B9B4-CEA109FA052E}" dt="2021-07-26T08:02:19.499" v="53" actId="478"/>
          <ac:picMkLst>
            <pc:docMk/>
            <pc:sldMk cId="1994381881" sldId="11269"/>
            <ac:picMk id="8" creationId="{4E2622E1-AABE-47DB-ACA8-6472E5360FCE}"/>
          </ac:picMkLst>
        </pc:picChg>
        <pc:picChg chg="add mod">
          <ac:chgData name="CAUSSIDOU, Fabienne" userId="d3b93ce2-b4f2-4ea8-90dc-56594dbc3f3f" providerId="ADAL" clId="{823277E2-3355-481F-B9B4-CEA109FA052E}" dt="2021-07-26T08:03:12.199" v="61"/>
          <ac:picMkLst>
            <pc:docMk/>
            <pc:sldMk cId="1994381881" sldId="11269"/>
            <ac:picMk id="9" creationId="{36BCB905-8D73-4C2C-9366-4272ECD1CDF0}"/>
          </ac:picMkLst>
        </pc:picChg>
      </pc:sldChg>
      <pc:sldChg chg="addSp delSp modSp">
        <pc:chgData name="CAUSSIDOU, Fabienne" userId="d3b93ce2-b4f2-4ea8-90dc-56594dbc3f3f" providerId="ADAL" clId="{823277E2-3355-481F-B9B4-CEA109FA052E}" dt="2021-07-26T09:05:11.316" v="684"/>
        <pc:sldMkLst>
          <pc:docMk/>
          <pc:sldMk cId="2093075270" sldId="11270"/>
        </pc:sldMkLst>
        <pc:spChg chg="del">
          <ac:chgData name="CAUSSIDOU, Fabienne" userId="d3b93ce2-b4f2-4ea8-90dc-56594dbc3f3f" providerId="ADAL" clId="{823277E2-3355-481F-B9B4-CEA109FA052E}" dt="2021-07-26T09:05:10.449" v="683" actId="478"/>
          <ac:spMkLst>
            <pc:docMk/>
            <pc:sldMk cId="2093075270" sldId="11270"/>
            <ac:spMk id="3" creationId="{0A042E45-03A3-4A89-91BC-F30FEAA8AA41}"/>
          </ac:spMkLst>
        </pc:spChg>
        <pc:spChg chg="del">
          <ac:chgData name="CAUSSIDOU, Fabienne" userId="d3b93ce2-b4f2-4ea8-90dc-56594dbc3f3f" providerId="ADAL" clId="{823277E2-3355-481F-B9B4-CEA109FA052E}" dt="2021-07-26T08:24:23.561" v="152" actId="478"/>
          <ac:spMkLst>
            <pc:docMk/>
            <pc:sldMk cId="2093075270" sldId="11270"/>
            <ac:spMk id="4" creationId="{D212B4BD-3E38-463C-9954-C08D0C26EF7A}"/>
          </ac:spMkLst>
        </pc:spChg>
        <pc:spChg chg="add">
          <ac:chgData name="CAUSSIDOU, Fabienne" userId="d3b93ce2-b4f2-4ea8-90dc-56594dbc3f3f" providerId="ADAL" clId="{823277E2-3355-481F-B9B4-CEA109FA052E}" dt="2021-07-26T09:05:11.316" v="684"/>
          <ac:spMkLst>
            <pc:docMk/>
            <pc:sldMk cId="2093075270" sldId="11270"/>
            <ac:spMk id="10" creationId="{836EC7C6-3715-4529-81A7-0B20C1265B29}"/>
          </ac:spMkLst>
        </pc:spChg>
        <pc:picChg chg="add mod">
          <ac:chgData name="CAUSSIDOU, Fabienne" userId="d3b93ce2-b4f2-4ea8-90dc-56594dbc3f3f" providerId="ADAL" clId="{823277E2-3355-481F-B9B4-CEA109FA052E}" dt="2021-07-26T08:24:20.922" v="151" actId="14100"/>
          <ac:picMkLst>
            <pc:docMk/>
            <pc:sldMk cId="2093075270" sldId="11270"/>
            <ac:picMk id="5" creationId="{21C116B2-7C34-42B8-8E80-B423B05113AB}"/>
          </ac:picMkLst>
        </pc:picChg>
        <pc:picChg chg="del">
          <ac:chgData name="CAUSSIDOU, Fabienne" userId="d3b93ce2-b4f2-4ea8-90dc-56594dbc3f3f" providerId="ADAL" clId="{823277E2-3355-481F-B9B4-CEA109FA052E}" dt="2021-07-26T08:24:12.045" v="147" actId="478"/>
          <ac:picMkLst>
            <pc:docMk/>
            <pc:sldMk cId="2093075270" sldId="11270"/>
            <ac:picMk id="12" creationId="{A2AF0DCD-C90B-49D8-A382-B97C8C1E2F32}"/>
          </ac:picMkLst>
        </pc:picChg>
        <pc:picChg chg="del">
          <ac:chgData name="CAUSSIDOU, Fabienne" userId="d3b93ce2-b4f2-4ea8-90dc-56594dbc3f3f" providerId="ADAL" clId="{823277E2-3355-481F-B9B4-CEA109FA052E}" dt="2021-07-26T08:24:25.367" v="153" actId="478"/>
          <ac:picMkLst>
            <pc:docMk/>
            <pc:sldMk cId="2093075270" sldId="11270"/>
            <ac:picMk id="13" creationId="{513F2549-39E5-4C21-BFE6-429BA28CB1F2}"/>
          </ac:picMkLst>
        </pc:picChg>
      </pc:sldChg>
      <pc:sldChg chg="addSp delSp modSp">
        <pc:chgData name="CAUSSIDOU, Fabienne" userId="d3b93ce2-b4f2-4ea8-90dc-56594dbc3f3f" providerId="ADAL" clId="{823277E2-3355-481F-B9B4-CEA109FA052E}" dt="2021-07-26T09:05:16.171" v="686"/>
        <pc:sldMkLst>
          <pc:docMk/>
          <pc:sldMk cId="99241296" sldId="11271"/>
        </pc:sldMkLst>
        <pc:spChg chg="del">
          <ac:chgData name="CAUSSIDOU, Fabienne" userId="d3b93ce2-b4f2-4ea8-90dc-56594dbc3f3f" providerId="ADAL" clId="{823277E2-3355-481F-B9B4-CEA109FA052E}" dt="2021-07-26T09:05:15.510" v="685" actId="478"/>
          <ac:spMkLst>
            <pc:docMk/>
            <pc:sldMk cId="99241296" sldId="11271"/>
            <ac:spMk id="3" creationId="{0A042E45-03A3-4A89-91BC-F30FEAA8AA41}"/>
          </ac:spMkLst>
        </pc:spChg>
        <pc:spChg chg="mod">
          <ac:chgData name="CAUSSIDOU, Fabienne" userId="d3b93ce2-b4f2-4ea8-90dc-56594dbc3f3f" providerId="ADAL" clId="{823277E2-3355-481F-B9B4-CEA109FA052E}" dt="2021-07-26T08:40:37.761" v="175" actId="113"/>
          <ac:spMkLst>
            <pc:docMk/>
            <pc:sldMk cId="99241296" sldId="11271"/>
            <ac:spMk id="7" creationId="{A47F18DF-B235-40D1-9919-7F1395C030DE}"/>
          </ac:spMkLst>
        </pc:spChg>
        <pc:spChg chg="add">
          <ac:chgData name="CAUSSIDOU, Fabienne" userId="d3b93ce2-b4f2-4ea8-90dc-56594dbc3f3f" providerId="ADAL" clId="{823277E2-3355-481F-B9B4-CEA109FA052E}" dt="2021-07-26T09:05:16.171" v="686"/>
          <ac:spMkLst>
            <pc:docMk/>
            <pc:sldMk cId="99241296" sldId="11271"/>
            <ac:spMk id="10" creationId="{2E5AB1D0-F001-49EE-8134-7CC807D9639B}"/>
          </ac:spMkLst>
        </pc:spChg>
        <pc:picChg chg="add mod">
          <ac:chgData name="CAUSSIDOU, Fabienne" userId="d3b93ce2-b4f2-4ea8-90dc-56594dbc3f3f" providerId="ADAL" clId="{823277E2-3355-481F-B9B4-CEA109FA052E}" dt="2021-07-26T08:40:29.336" v="173" actId="1076"/>
          <ac:picMkLst>
            <pc:docMk/>
            <pc:sldMk cId="99241296" sldId="11271"/>
            <ac:picMk id="4" creationId="{B8BC4D7F-11D3-4D68-AD95-9DB556206408}"/>
          </ac:picMkLst>
        </pc:picChg>
        <pc:picChg chg="del">
          <ac:chgData name="CAUSSIDOU, Fabienne" userId="d3b93ce2-b4f2-4ea8-90dc-56594dbc3f3f" providerId="ADAL" clId="{823277E2-3355-481F-B9B4-CEA109FA052E}" dt="2021-07-26T08:24:53.237" v="154" actId="478"/>
          <ac:picMkLst>
            <pc:docMk/>
            <pc:sldMk cId="99241296" sldId="11271"/>
            <ac:picMk id="6" creationId="{93BFD55D-A445-49CC-B52D-4F81AA935146}"/>
          </ac:picMkLst>
        </pc:picChg>
      </pc:sldChg>
      <pc:sldChg chg="addSp delSp">
        <pc:chgData name="CAUSSIDOU, Fabienne" userId="d3b93ce2-b4f2-4ea8-90dc-56594dbc3f3f" providerId="ADAL" clId="{823277E2-3355-481F-B9B4-CEA109FA052E}" dt="2021-07-26T09:05:21.795" v="688"/>
        <pc:sldMkLst>
          <pc:docMk/>
          <pc:sldMk cId="2696362976" sldId="11272"/>
        </pc:sldMkLst>
        <pc:spChg chg="del">
          <ac:chgData name="CAUSSIDOU, Fabienne" userId="d3b93ce2-b4f2-4ea8-90dc-56594dbc3f3f" providerId="ADAL" clId="{823277E2-3355-481F-B9B4-CEA109FA052E}" dt="2021-07-26T09:05:21.019" v="687" actId="478"/>
          <ac:spMkLst>
            <pc:docMk/>
            <pc:sldMk cId="2696362976" sldId="11272"/>
            <ac:spMk id="3" creationId="{0A042E45-03A3-4A89-91BC-F30FEAA8AA41}"/>
          </ac:spMkLst>
        </pc:spChg>
        <pc:spChg chg="add">
          <ac:chgData name="CAUSSIDOU, Fabienne" userId="d3b93ce2-b4f2-4ea8-90dc-56594dbc3f3f" providerId="ADAL" clId="{823277E2-3355-481F-B9B4-CEA109FA052E}" dt="2021-07-26T09:05:21.795" v="688"/>
          <ac:spMkLst>
            <pc:docMk/>
            <pc:sldMk cId="2696362976" sldId="11272"/>
            <ac:spMk id="7" creationId="{87DEA579-6980-42C7-BD26-915D4D0D561F}"/>
          </ac:spMkLst>
        </pc:spChg>
      </pc:sldChg>
      <pc:sldChg chg="addSp delSp modSp">
        <pc:chgData name="CAUSSIDOU, Fabienne" userId="d3b93ce2-b4f2-4ea8-90dc-56594dbc3f3f" providerId="ADAL" clId="{823277E2-3355-481F-B9B4-CEA109FA052E}" dt="2021-07-26T08:42:30.470" v="179"/>
        <pc:sldMkLst>
          <pc:docMk/>
          <pc:sldMk cId="957610004" sldId="11273"/>
        </pc:sldMkLst>
        <pc:spChg chg="add del mod">
          <ac:chgData name="CAUSSIDOU, Fabienne" userId="d3b93ce2-b4f2-4ea8-90dc-56594dbc3f3f" providerId="ADAL" clId="{823277E2-3355-481F-B9B4-CEA109FA052E}" dt="2021-07-26T08:01:50.648" v="34" actId="478"/>
          <ac:spMkLst>
            <pc:docMk/>
            <pc:sldMk cId="957610004" sldId="11273"/>
            <ac:spMk id="4" creationId="{8EBDFD33-767B-4827-A046-F677BF094635}"/>
          </ac:spMkLst>
        </pc:spChg>
        <pc:spChg chg="add mod">
          <ac:chgData name="CAUSSIDOU, Fabienne" userId="d3b93ce2-b4f2-4ea8-90dc-56594dbc3f3f" providerId="ADAL" clId="{823277E2-3355-481F-B9B4-CEA109FA052E}" dt="2021-07-26T08:02:24.021" v="55" actId="478"/>
          <ac:spMkLst>
            <pc:docMk/>
            <pc:sldMk cId="957610004" sldId="11273"/>
            <ac:spMk id="8" creationId="{9616C8D3-4DFE-44FE-8F65-F0FFAFB43F85}"/>
          </ac:spMkLst>
        </pc:spChg>
        <pc:graphicFrameChg chg="add del">
          <ac:chgData name="CAUSSIDOU, Fabienne" userId="d3b93ce2-b4f2-4ea8-90dc-56594dbc3f3f" providerId="ADAL" clId="{823277E2-3355-481F-B9B4-CEA109FA052E}" dt="2021-07-26T08:42:30.470" v="179"/>
          <ac:graphicFrameMkLst>
            <pc:docMk/>
            <pc:sldMk cId="957610004" sldId="11273"/>
            <ac:graphicFrameMk id="10" creationId="{AD1C97A0-8A7C-4632-9259-4501B1292D1F}"/>
          </ac:graphicFrameMkLst>
        </pc:graphicFrameChg>
        <pc:picChg chg="add del">
          <ac:chgData name="CAUSSIDOU, Fabienne" userId="d3b93ce2-b4f2-4ea8-90dc-56594dbc3f3f" providerId="ADAL" clId="{823277E2-3355-481F-B9B4-CEA109FA052E}" dt="2021-07-26T08:02:24.021" v="55" actId="478"/>
          <ac:picMkLst>
            <pc:docMk/>
            <pc:sldMk cId="957610004" sldId="11273"/>
            <ac:picMk id="5" creationId="{33825656-7BD4-4CB2-9884-2EC4C9FA541A}"/>
          </ac:picMkLst>
        </pc:picChg>
        <pc:picChg chg="add">
          <ac:chgData name="CAUSSIDOU, Fabienne" userId="d3b93ce2-b4f2-4ea8-90dc-56594dbc3f3f" providerId="ADAL" clId="{823277E2-3355-481F-B9B4-CEA109FA052E}" dt="2021-07-26T08:03:24.536" v="63"/>
          <ac:picMkLst>
            <pc:docMk/>
            <pc:sldMk cId="957610004" sldId="11273"/>
            <ac:picMk id="9" creationId="{3E77865A-8B19-42DC-BBB4-79A4672902F7}"/>
          </ac:picMkLst>
        </pc:picChg>
      </pc:sldChg>
      <pc:sldChg chg="del">
        <pc:chgData name="CAUSSIDOU, Fabienne" userId="d3b93ce2-b4f2-4ea8-90dc-56594dbc3f3f" providerId="ADAL" clId="{823277E2-3355-481F-B9B4-CEA109FA052E}" dt="2021-07-26T08:41:17.900" v="177" actId="2696"/>
        <pc:sldMkLst>
          <pc:docMk/>
          <pc:sldMk cId="3005807625" sldId="11274"/>
        </pc:sldMkLst>
      </pc:sldChg>
      <pc:sldChg chg="del">
        <pc:chgData name="CAUSSIDOU, Fabienne" userId="d3b93ce2-b4f2-4ea8-90dc-56594dbc3f3f" providerId="ADAL" clId="{823277E2-3355-481F-B9B4-CEA109FA052E}" dt="2021-07-26T08:41:17.075" v="176" actId="2696"/>
        <pc:sldMkLst>
          <pc:docMk/>
          <pc:sldMk cId="2052529446" sldId="11275"/>
        </pc:sldMkLst>
      </pc:sldChg>
      <pc:sldChg chg="modSp add setBg">
        <pc:chgData name="CAUSSIDOU, Fabienne" userId="d3b93ce2-b4f2-4ea8-90dc-56594dbc3f3f" providerId="ADAL" clId="{823277E2-3355-481F-B9B4-CEA109FA052E}" dt="2021-07-26T07:58:15.962" v="6" actId="6549"/>
        <pc:sldMkLst>
          <pc:docMk/>
          <pc:sldMk cId="4157059696" sldId="11278"/>
        </pc:sldMkLst>
        <pc:spChg chg="mod">
          <ac:chgData name="CAUSSIDOU, Fabienne" userId="d3b93ce2-b4f2-4ea8-90dc-56594dbc3f3f" providerId="ADAL" clId="{823277E2-3355-481F-B9B4-CEA109FA052E}" dt="2021-07-26T07:58:11.585" v="5"/>
          <ac:spMkLst>
            <pc:docMk/>
            <pc:sldMk cId="4157059696" sldId="11278"/>
            <ac:spMk id="2" creationId="{15A27901-FBC1-4867-900D-E3319FAD2C86}"/>
          </ac:spMkLst>
        </pc:spChg>
        <pc:spChg chg="mod">
          <ac:chgData name="CAUSSIDOU, Fabienne" userId="d3b93ce2-b4f2-4ea8-90dc-56594dbc3f3f" providerId="ADAL" clId="{823277E2-3355-481F-B9B4-CEA109FA052E}" dt="2021-07-26T07:57:57.202" v="3" actId="207"/>
          <ac:spMkLst>
            <pc:docMk/>
            <pc:sldMk cId="4157059696" sldId="11278"/>
            <ac:spMk id="6" creationId="{7D2B60E1-2DAC-4329-B849-9CB70F3C19F0}"/>
          </ac:spMkLst>
        </pc:spChg>
        <pc:spChg chg="mod">
          <ac:chgData name="CAUSSIDOU, Fabienne" userId="d3b93ce2-b4f2-4ea8-90dc-56594dbc3f3f" providerId="ADAL" clId="{823277E2-3355-481F-B9B4-CEA109FA052E}" dt="2021-07-26T07:58:15.962" v="6" actId="6549"/>
          <ac:spMkLst>
            <pc:docMk/>
            <pc:sldMk cId="4157059696" sldId="11278"/>
            <ac:spMk id="11" creationId="{B8AC72BC-6A1A-4606-AA4E-67F218BE048E}"/>
          </ac:spMkLst>
        </pc:spChg>
      </pc:sldChg>
      <pc:sldChg chg="addSp delSp modSp add">
        <pc:chgData name="CAUSSIDOU, Fabienne" userId="d3b93ce2-b4f2-4ea8-90dc-56594dbc3f3f" providerId="ADAL" clId="{823277E2-3355-481F-B9B4-CEA109FA052E}" dt="2021-07-26T09:05:53.466" v="726" actId="207"/>
        <pc:sldMkLst>
          <pc:docMk/>
          <pc:sldMk cId="501862983" sldId="11279"/>
        </pc:sldMkLst>
        <pc:spChg chg="mod">
          <ac:chgData name="CAUSSIDOU, Fabienne" userId="d3b93ce2-b4f2-4ea8-90dc-56594dbc3f3f" providerId="ADAL" clId="{823277E2-3355-481F-B9B4-CEA109FA052E}" dt="2021-07-26T08:55:53.694" v="379" actId="108"/>
          <ac:spMkLst>
            <pc:docMk/>
            <pc:sldMk cId="501862983" sldId="11279"/>
            <ac:spMk id="2" creationId="{A7DF3219-2F78-4ED7-A026-C93C48279065}"/>
          </ac:spMkLst>
        </pc:spChg>
        <pc:spChg chg="del">
          <ac:chgData name="CAUSSIDOU, Fabienne" userId="d3b93ce2-b4f2-4ea8-90dc-56594dbc3f3f" providerId="ADAL" clId="{823277E2-3355-481F-B9B4-CEA109FA052E}" dt="2021-07-26T09:05:35.867" v="693" actId="478"/>
          <ac:spMkLst>
            <pc:docMk/>
            <pc:sldMk cId="501862983" sldId="11279"/>
            <ac:spMk id="3" creationId="{0A042E45-03A3-4A89-91BC-F30FEAA8AA41}"/>
          </ac:spMkLst>
        </pc:spChg>
        <pc:spChg chg="add del mod">
          <ac:chgData name="CAUSSIDOU, Fabienne" userId="d3b93ce2-b4f2-4ea8-90dc-56594dbc3f3f" providerId="ADAL" clId="{823277E2-3355-481F-B9B4-CEA109FA052E}" dt="2021-07-26T08:56:10.766" v="384" actId="478"/>
          <ac:spMkLst>
            <pc:docMk/>
            <pc:sldMk cId="501862983" sldId="11279"/>
            <ac:spMk id="5" creationId="{92E825FB-C4CA-4A83-B1AA-BAD2207237A2}"/>
          </ac:spMkLst>
        </pc:spChg>
        <pc:spChg chg="del">
          <ac:chgData name="CAUSSIDOU, Fabienne" userId="d3b93ce2-b4f2-4ea8-90dc-56594dbc3f3f" providerId="ADAL" clId="{823277E2-3355-481F-B9B4-CEA109FA052E}" dt="2021-07-26T08:55:57.534" v="381" actId="478"/>
          <ac:spMkLst>
            <pc:docMk/>
            <pc:sldMk cId="501862983" sldId="11279"/>
            <ac:spMk id="8" creationId="{5962016B-913F-49C9-B719-7E3A3476E87A}"/>
          </ac:spMkLst>
        </pc:spChg>
        <pc:spChg chg="mod topLvl">
          <ac:chgData name="CAUSSIDOU, Fabienne" userId="d3b93ce2-b4f2-4ea8-90dc-56594dbc3f3f" providerId="ADAL" clId="{823277E2-3355-481F-B9B4-CEA109FA052E}" dt="2021-07-26T08:59:34.991" v="469" actId="165"/>
          <ac:spMkLst>
            <pc:docMk/>
            <pc:sldMk cId="501862983" sldId="11279"/>
            <ac:spMk id="18" creationId="{7762A978-E248-4404-98FE-12092CB26377}"/>
          </ac:spMkLst>
        </pc:spChg>
        <pc:spChg chg="mod topLvl">
          <ac:chgData name="CAUSSIDOU, Fabienne" userId="d3b93ce2-b4f2-4ea8-90dc-56594dbc3f3f" providerId="ADAL" clId="{823277E2-3355-481F-B9B4-CEA109FA052E}" dt="2021-07-26T08:59:46.803" v="471" actId="552"/>
          <ac:spMkLst>
            <pc:docMk/>
            <pc:sldMk cId="501862983" sldId="11279"/>
            <ac:spMk id="23" creationId="{E980993A-21AE-4040-9AEB-D2A6E48494CE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25" creationId="{9D010580-7FBD-45BD-B69B-5556C061A931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26" creationId="{EC734DFD-12DF-4891-A94F-48AB3B031C85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27" creationId="{6197D7CE-EBD1-425E-B639-BF6AE7784941}"/>
          </ac:spMkLst>
        </pc:spChg>
        <pc:spChg chg="mod">
          <ac:chgData name="CAUSSIDOU, Fabienne" userId="d3b93ce2-b4f2-4ea8-90dc-56594dbc3f3f" providerId="ADAL" clId="{823277E2-3355-481F-B9B4-CEA109FA052E}" dt="2021-07-26T08:58:18.622" v="421" actId="207"/>
          <ac:spMkLst>
            <pc:docMk/>
            <pc:sldMk cId="501862983" sldId="11279"/>
            <ac:spMk id="28" creationId="{EA9B1101-BCEB-4A3C-87E1-BB099EB4B21C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29" creationId="{CD2089DF-F7F4-4EBB-91D8-70B095773989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0" creationId="{EFE9521F-C87E-45A5-A992-F0B2F1B56D36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1" creationId="{25B953DF-67C4-46E4-AA39-19DBF69851E4}"/>
          </ac:spMkLst>
        </pc:spChg>
        <pc:spChg chg="mod">
          <ac:chgData name="CAUSSIDOU, Fabienne" userId="d3b93ce2-b4f2-4ea8-90dc-56594dbc3f3f" providerId="ADAL" clId="{823277E2-3355-481F-B9B4-CEA109FA052E}" dt="2021-07-26T08:58:17.257" v="420" actId="207"/>
          <ac:spMkLst>
            <pc:docMk/>
            <pc:sldMk cId="501862983" sldId="11279"/>
            <ac:spMk id="32" creationId="{948C1BB1-8535-487B-A9A9-9910415FB04B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5" creationId="{19BD168E-4268-48A7-8A9A-372E350C676D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6" creationId="{11E5CA25-02A6-4505-AA8E-02ECA0463EE5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37" creationId="{8039C38C-54FC-4485-B011-35550F9FF7D4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8" creationId="{94106BF1-10B0-4D16-84C3-028B05F9DB4C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39" creationId="{5A8BAAD1-7A51-4D2D-A985-1DDB9FE5F49E}"/>
          </ac:spMkLst>
        </pc:spChg>
        <pc:spChg chg="mod">
          <ac:chgData name="CAUSSIDOU, Fabienne" userId="d3b93ce2-b4f2-4ea8-90dc-56594dbc3f3f" providerId="ADAL" clId="{823277E2-3355-481F-B9B4-CEA109FA052E}" dt="2021-07-26T08:58:20.230" v="422" actId="207"/>
          <ac:spMkLst>
            <pc:docMk/>
            <pc:sldMk cId="501862983" sldId="11279"/>
            <ac:spMk id="40" creationId="{A7962C76-66F6-46FF-A7C0-A76ED7729B6B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41" creationId="{4E67B746-007A-45EE-AF7F-02ADD8869CA6}"/>
          </ac:spMkLst>
        </pc:spChg>
        <pc:spChg chg="mod">
          <ac:chgData name="CAUSSIDOU, Fabienne" userId="d3b93ce2-b4f2-4ea8-90dc-56594dbc3f3f" providerId="ADAL" clId="{823277E2-3355-481F-B9B4-CEA109FA052E}" dt="2021-07-26T08:58:11.211" v="415" actId="207"/>
          <ac:spMkLst>
            <pc:docMk/>
            <pc:sldMk cId="501862983" sldId="11279"/>
            <ac:spMk id="42" creationId="{87BCCCEF-62CC-4060-894F-7E0FCA7542F8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3" creationId="{BAD15AF2-6162-4F33-92B7-EC7306482EC9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5" creationId="{BF748CA6-E944-4513-BF23-BC1147548198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6" creationId="{578E5356-D04B-4607-958C-3DD8C94152B4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47" creationId="{15F717CF-A08B-427E-B5FC-B62A5ED4810D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8" creationId="{B04D04F1-050D-4ACD-8A27-10D82B1C8485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49" creationId="{0AADEAC5-11A8-4115-98E0-3772749B8A48}"/>
          </ac:spMkLst>
        </pc:spChg>
        <pc:spChg chg="mod">
          <ac:chgData name="CAUSSIDOU, Fabienne" userId="d3b93ce2-b4f2-4ea8-90dc-56594dbc3f3f" providerId="ADAL" clId="{823277E2-3355-481F-B9B4-CEA109FA052E}" dt="2021-07-26T08:58:02.678" v="414" actId="207"/>
          <ac:spMkLst>
            <pc:docMk/>
            <pc:sldMk cId="501862983" sldId="11279"/>
            <ac:spMk id="50" creationId="{73E29CE4-71B0-42BF-9466-DB8F26BF35D6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51" creationId="{8F01CBB4-E0E9-475C-BD49-697D79DA7CE3}"/>
          </ac:spMkLst>
        </pc:spChg>
        <pc:spChg chg="mod">
          <ac:chgData name="CAUSSIDOU, Fabienne" userId="d3b93ce2-b4f2-4ea8-90dc-56594dbc3f3f" providerId="ADAL" clId="{823277E2-3355-481F-B9B4-CEA109FA052E}" dt="2021-07-26T08:58:16.103" v="419" actId="207"/>
          <ac:spMkLst>
            <pc:docMk/>
            <pc:sldMk cId="501862983" sldId="11279"/>
            <ac:spMk id="52" creationId="{9687D4EE-696E-41F2-A2C8-69589EEFF4A7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53" creationId="{87D64221-4A45-4715-A93D-5BB9C72DB28B}"/>
          </ac:spMkLst>
        </pc:spChg>
        <pc:spChg chg="mod">
          <ac:chgData name="CAUSSIDOU, Fabienne" userId="d3b93ce2-b4f2-4ea8-90dc-56594dbc3f3f" providerId="ADAL" clId="{823277E2-3355-481F-B9B4-CEA109FA052E}" dt="2021-07-26T08:58:21.124" v="423" actId="207"/>
          <ac:spMkLst>
            <pc:docMk/>
            <pc:sldMk cId="501862983" sldId="11279"/>
            <ac:spMk id="54" creationId="{E6D2E4F7-80E5-4E47-A762-A09FC6F4AD2C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55" creationId="{2C70573A-1C07-4E67-9BE3-CDECCEAF364F}"/>
          </ac:spMkLst>
        </pc:spChg>
        <pc:spChg chg="mod">
          <ac:chgData name="CAUSSIDOU, Fabienne" userId="d3b93ce2-b4f2-4ea8-90dc-56594dbc3f3f" providerId="ADAL" clId="{823277E2-3355-481F-B9B4-CEA109FA052E}" dt="2021-07-26T08:58:12.699" v="416" actId="207"/>
          <ac:spMkLst>
            <pc:docMk/>
            <pc:sldMk cId="501862983" sldId="11279"/>
            <ac:spMk id="56" creationId="{58FD038E-9810-475B-BDD6-41DA159EA9F9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57" creationId="{4F191B1E-AB62-49B3-BFB3-1835442B3B26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58" creationId="{F9B0F0CA-02BC-4C7C-9FE2-6B1C427AD92A}"/>
          </ac:spMkLst>
        </pc:spChg>
        <pc:spChg chg="mod">
          <ac:chgData name="CAUSSIDOU, Fabienne" userId="d3b93ce2-b4f2-4ea8-90dc-56594dbc3f3f" providerId="ADAL" clId="{823277E2-3355-481F-B9B4-CEA109FA052E}" dt="2021-07-26T08:58:14.734" v="418" actId="207"/>
          <ac:spMkLst>
            <pc:docMk/>
            <pc:sldMk cId="501862983" sldId="11279"/>
            <ac:spMk id="59" creationId="{562B1990-6759-48B9-9122-E1E32B2C83DA}"/>
          </ac:spMkLst>
        </pc:spChg>
        <pc:spChg chg="mod">
          <ac:chgData name="CAUSSIDOU, Fabienne" userId="d3b93ce2-b4f2-4ea8-90dc-56594dbc3f3f" providerId="ADAL" clId="{823277E2-3355-481F-B9B4-CEA109FA052E}" dt="2021-07-26T09:01:01.501" v="485" actId="20577"/>
          <ac:spMkLst>
            <pc:docMk/>
            <pc:sldMk cId="501862983" sldId="11279"/>
            <ac:spMk id="60" creationId="{1C01A010-E052-4E69-8611-E2F60699A287}"/>
          </ac:spMkLst>
        </pc:spChg>
        <pc:spChg chg="mod">
          <ac:chgData name="CAUSSIDOU, Fabienne" userId="d3b93ce2-b4f2-4ea8-90dc-56594dbc3f3f" providerId="ADAL" clId="{823277E2-3355-481F-B9B4-CEA109FA052E}" dt="2021-07-26T08:59:06.086" v="468" actId="14100"/>
          <ac:spMkLst>
            <pc:docMk/>
            <pc:sldMk cId="501862983" sldId="11279"/>
            <ac:spMk id="61" creationId="{5C5D4DA6-A015-4608-A50B-F746286120BB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62" creationId="{B050C8C6-27CC-48F2-96DB-7AE9D850B24D}"/>
          </ac:spMkLst>
        </pc:spChg>
        <pc:spChg chg="mod">
          <ac:chgData name="CAUSSIDOU, Fabienne" userId="d3b93ce2-b4f2-4ea8-90dc-56594dbc3f3f" providerId="ADAL" clId="{823277E2-3355-481F-B9B4-CEA109FA052E}" dt="2021-07-26T08:58:14.097" v="417" actId="207"/>
          <ac:spMkLst>
            <pc:docMk/>
            <pc:sldMk cId="501862983" sldId="11279"/>
            <ac:spMk id="63" creationId="{98C03BCE-4AEC-44B5-ADB5-5662FBE476FF}"/>
          </ac:spMkLst>
        </pc:spChg>
        <pc:spChg chg="mod">
          <ac:chgData name="CAUSSIDOU, Fabienne" userId="d3b93ce2-b4f2-4ea8-90dc-56594dbc3f3f" providerId="ADAL" clId="{823277E2-3355-481F-B9B4-CEA109FA052E}" dt="2021-07-26T08:57:24.024" v="403" actId="113"/>
          <ac:spMkLst>
            <pc:docMk/>
            <pc:sldMk cId="501862983" sldId="11279"/>
            <ac:spMk id="64" creationId="{E77359CA-4408-4DBD-B01B-C83B5C9F2B74}"/>
          </ac:spMkLst>
        </pc:spChg>
        <pc:spChg chg="add mod">
          <ac:chgData name="CAUSSIDOU, Fabienne" userId="d3b93ce2-b4f2-4ea8-90dc-56594dbc3f3f" providerId="ADAL" clId="{823277E2-3355-481F-B9B4-CEA109FA052E}" dt="2021-07-26T08:56:33.975" v="390" actId="207"/>
          <ac:spMkLst>
            <pc:docMk/>
            <pc:sldMk cId="501862983" sldId="11279"/>
            <ac:spMk id="65" creationId="{8CA6E504-B74B-4227-8CA8-A31F9E9B2B71}"/>
          </ac:spMkLst>
        </pc:spChg>
        <pc:spChg chg="add">
          <ac:chgData name="CAUSSIDOU, Fabienne" userId="d3b93ce2-b4f2-4ea8-90dc-56594dbc3f3f" providerId="ADAL" clId="{823277E2-3355-481F-B9B4-CEA109FA052E}" dt="2021-07-26T09:05:36.584" v="694"/>
          <ac:spMkLst>
            <pc:docMk/>
            <pc:sldMk cId="501862983" sldId="11279"/>
            <ac:spMk id="66" creationId="{828EB729-37F1-4E1A-851D-7A1872101283}"/>
          </ac:spMkLst>
        </pc:spChg>
        <pc:grpChg chg="add del mod">
          <ac:chgData name="CAUSSIDOU, Fabienne" userId="d3b93ce2-b4f2-4ea8-90dc-56594dbc3f3f" providerId="ADAL" clId="{823277E2-3355-481F-B9B4-CEA109FA052E}" dt="2021-07-26T08:59:34.991" v="469" actId="165"/>
          <ac:grpSpMkLst>
            <pc:docMk/>
            <pc:sldMk cId="501862983" sldId="11279"/>
            <ac:grpSpMk id="10" creationId="{F37E2D51-670E-4D8A-AB2C-0EA5B210715B}"/>
          </ac:grpSpMkLst>
        </pc:grpChg>
        <pc:grpChg chg="mod topLvl">
          <ac:chgData name="CAUSSIDOU, Fabienne" userId="d3b93ce2-b4f2-4ea8-90dc-56594dbc3f3f" providerId="ADAL" clId="{823277E2-3355-481F-B9B4-CEA109FA052E}" dt="2021-07-26T09:00:28.124" v="474" actId="14100"/>
          <ac:grpSpMkLst>
            <pc:docMk/>
            <pc:sldMk cId="501862983" sldId="11279"/>
            <ac:grpSpMk id="11" creationId="{18C02EB4-7994-4DF6-9CF7-AA94A1C9C20C}"/>
          </ac:grpSpMkLst>
        </pc:grpChg>
        <pc:grpChg chg="mod topLvl">
          <ac:chgData name="CAUSSIDOU, Fabienne" userId="d3b93ce2-b4f2-4ea8-90dc-56594dbc3f3f" providerId="ADAL" clId="{823277E2-3355-481F-B9B4-CEA109FA052E}" dt="2021-07-26T09:00:28.124" v="474" actId="14100"/>
          <ac:grpSpMkLst>
            <pc:docMk/>
            <pc:sldMk cId="501862983" sldId="11279"/>
            <ac:grpSpMk id="13" creationId="{189F23A3-74F6-468C-AE19-966A9176F767}"/>
          </ac:grpSpMkLst>
        </pc:grpChg>
        <pc:grpChg chg="mod topLvl">
          <ac:chgData name="CAUSSIDOU, Fabienne" userId="d3b93ce2-b4f2-4ea8-90dc-56594dbc3f3f" providerId="ADAL" clId="{823277E2-3355-481F-B9B4-CEA109FA052E}" dt="2021-07-26T09:00:28.124" v="474" actId="14100"/>
          <ac:grpSpMkLst>
            <pc:docMk/>
            <pc:sldMk cId="501862983" sldId="11279"/>
            <ac:grpSpMk id="14" creationId="{8F9F6AA0-480F-4A9A-ABAB-AE79A61E7871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15" creationId="{2FE8F665-C55E-45DE-A163-80031E0C305D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16" creationId="{FAB29ADB-9FFF-4996-9292-F1AEBB27434E}"/>
          </ac:grpSpMkLst>
        </pc:grpChg>
        <pc:grpChg chg="mod topLvl">
          <ac:chgData name="CAUSSIDOU, Fabienne" userId="d3b93ce2-b4f2-4ea8-90dc-56594dbc3f3f" providerId="ADAL" clId="{823277E2-3355-481F-B9B4-CEA109FA052E}" dt="2021-07-26T09:05:53.466" v="726" actId="207"/>
          <ac:grpSpMkLst>
            <pc:docMk/>
            <pc:sldMk cId="501862983" sldId="11279"/>
            <ac:grpSpMk id="17" creationId="{2B068273-2484-4AC3-BB4D-5AEA29D7B58C}"/>
          </ac:grpSpMkLst>
        </pc:grpChg>
        <pc:grpChg chg="mod topLvl">
          <ac:chgData name="CAUSSIDOU, Fabienne" userId="d3b93ce2-b4f2-4ea8-90dc-56594dbc3f3f" providerId="ADAL" clId="{823277E2-3355-481F-B9B4-CEA109FA052E}" dt="2021-07-26T09:00:28.124" v="474" actId="14100"/>
          <ac:grpSpMkLst>
            <pc:docMk/>
            <pc:sldMk cId="501862983" sldId="11279"/>
            <ac:grpSpMk id="19" creationId="{0A068086-FB1C-44E8-8E98-20260EEFBF65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20" creationId="{3004B268-93F4-43C5-B223-C903A2841A98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21" creationId="{559AC1DE-BDB3-4EA8-A2A4-25754D410DDB}"/>
          </ac:grpSpMkLst>
        </pc:grpChg>
        <pc:grpChg chg="mod topLvl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22" creationId="{65B043B3-C797-4517-95AD-6ABBD740421F}"/>
          </ac:grpSpMkLst>
        </pc:grpChg>
        <pc:grpChg chg="mod">
          <ac:chgData name="CAUSSIDOU, Fabienne" userId="d3b93ce2-b4f2-4ea8-90dc-56594dbc3f3f" providerId="ADAL" clId="{823277E2-3355-481F-B9B4-CEA109FA052E}" dt="2021-07-26T09:00:01.614" v="473" actId="553"/>
          <ac:grpSpMkLst>
            <pc:docMk/>
            <pc:sldMk cId="501862983" sldId="11279"/>
            <ac:grpSpMk id="24" creationId="{D0F1DA72-1160-4B2B-8842-77537CDEEC67}"/>
          </ac:grpSpMkLst>
        </pc:grpChg>
        <pc:grpChg chg="mod">
          <ac:chgData name="CAUSSIDOU, Fabienne" userId="d3b93ce2-b4f2-4ea8-90dc-56594dbc3f3f" providerId="ADAL" clId="{823277E2-3355-481F-B9B4-CEA109FA052E}" dt="2021-07-26T08:59:54.212" v="472" actId="552"/>
          <ac:grpSpMkLst>
            <pc:docMk/>
            <pc:sldMk cId="501862983" sldId="11279"/>
            <ac:grpSpMk id="44" creationId="{F1557152-9B41-4B24-8527-0438C78FCB60}"/>
          </ac:grpSpMkLst>
        </pc:grpChg>
        <pc:picChg chg="del">
          <ac:chgData name="CAUSSIDOU, Fabienne" userId="d3b93ce2-b4f2-4ea8-90dc-56594dbc3f3f" providerId="ADAL" clId="{823277E2-3355-481F-B9B4-CEA109FA052E}" dt="2021-07-26T08:55:55.298" v="380" actId="478"/>
          <ac:picMkLst>
            <pc:docMk/>
            <pc:sldMk cId="501862983" sldId="11279"/>
            <ac:picMk id="12" creationId="{D7E0977B-5545-4E96-AB03-A135DF754302}"/>
          </ac:picMkLst>
        </pc:picChg>
      </pc:sldChg>
      <pc:sldChg chg="modSp add del">
        <pc:chgData name="CAUSSIDOU, Fabienne" userId="d3b93ce2-b4f2-4ea8-90dc-56594dbc3f3f" providerId="ADAL" clId="{823277E2-3355-481F-B9B4-CEA109FA052E}" dt="2021-07-26T08:02:03.840" v="49"/>
        <pc:sldMkLst>
          <pc:docMk/>
          <pc:sldMk cId="410611729" sldId="11428"/>
        </pc:sldMkLst>
        <pc:spChg chg="mod">
          <ac:chgData name="CAUSSIDOU, Fabienne" userId="d3b93ce2-b4f2-4ea8-90dc-56594dbc3f3f" providerId="ADAL" clId="{823277E2-3355-481F-B9B4-CEA109FA052E}" dt="2021-07-26T07:58:39.949" v="10"/>
          <ac:spMkLst>
            <pc:docMk/>
            <pc:sldMk cId="410611729" sldId="11428"/>
            <ac:spMk id="2" creationId="{A64379B1-A39A-418A-806B-C19668D93C43}"/>
          </ac:spMkLst>
        </pc:spChg>
      </pc:sldChg>
      <pc:sldChg chg="add del">
        <pc:chgData name="CAUSSIDOU, Fabienne" userId="d3b93ce2-b4f2-4ea8-90dc-56594dbc3f3f" providerId="ADAL" clId="{823277E2-3355-481F-B9B4-CEA109FA052E}" dt="2021-07-26T08:01:59.709" v="46"/>
        <pc:sldMkLst>
          <pc:docMk/>
          <pc:sldMk cId="961808029" sldId="11429"/>
        </pc:sldMkLst>
      </pc:sldChg>
      <pc:sldChg chg="add del">
        <pc:chgData name="CAUSSIDOU, Fabienne" userId="d3b93ce2-b4f2-4ea8-90dc-56594dbc3f3f" providerId="ADAL" clId="{823277E2-3355-481F-B9B4-CEA109FA052E}" dt="2021-07-26T08:01:57.769" v="41"/>
        <pc:sldMkLst>
          <pc:docMk/>
          <pc:sldMk cId="3397342788" sldId="11429"/>
        </pc:sldMkLst>
      </pc:sldChg>
      <pc:sldChg chg="add del">
        <pc:chgData name="CAUSSIDOU, Fabienne" userId="d3b93ce2-b4f2-4ea8-90dc-56594dbc3f3f" providerId="ADAL" clId="{823277E2-3355-481F-B9B4-CEA109FA052E}" dt="2021-07-26T08:01:57.769" v="41"/>
        <pc:sldMkLst>
          <pc:docMk/>
          <pc:sldMk cId="64386111" sldId="11431"/>
        </pc:sldMkLst>
      </pc:sldChg>
      <pc:sldChg chg="add del">
        <pc:chgData name="CAUSSIDOU, Fabienne" userId="d3b93ce2-b4f2-4ea8-90dc-56594dbc3f3f" providerId="ADAL" clId="{823277E2-3355-481F-B9B4-CEA109FA052E}" dt="2021-07-26T08:01:58.885" v="45"/>
        <pc:sldMkLst>
          <pc:docMk/>
          <pc:sldMk cId="4081349922" sldId="11431"/>
        </pc:sldMkLst>
      </pc:sldChg>
      <pc:sldChg chg="add del">
        <pc:chgData name="CAUSSIDOU, Fabienne" userId="d3b93ce2-b4f2-4ea8-90dc-56594dbc3f3f" providerId="ADAL" clId="{823277E2-3355-481F-B9B4-CEA109FA052E}" dt="2021-07-26T08:02:00.279" v="47"/>
        <pc:sldMkLst>
          <pc:docMk/>
          <pc:sldMk cId="24257803" sldId="14099"/>
        </pc:sldMkLst>
      </pc:sldChg>
      <pc:sldChg chg="add del">
        <pc:chgData name="CAUSSIDOU, Fabienne" userId="d3b93ce2-b4f2-4ea8-90dc-56594dbc3f3f" providerId="ADAL" clId="{823277E2-3355-481F-B9B4-CEA109FA052E}" dt="2021-07-26T08:01:57.769" v="41"/>
        <pc:sldMkLst>
          <pc:docMk/>
          <pc:sldMk cId="2897250487" sldId="14099"/>
        </pc:sldMkLst>
      </pc:sldChg>
      <pc:sldChg chg="modSp add del">
        <pc:chgData name="CAUSSIDOU, Fabienne" userId="d3b93ce2-b4f2-4ea8-90dc-56594dbc3f3f" providerId="ADAL" clId="{823277E2-3355-481F-B9B4-CEA109FA052E}" dt="2021-07-26T08:01:57.282" v="40"/>
        <pc:sldMkLst>
          <pc:docMk/>
          <pc:sldMk cId="3268858664" sldId="14100"/>
        </pc:sldMkLst>
        <pc:spChg chg="mod">
          <ac:chgData name="CAUSSIDOU, Fabienne" userId="d3b93ce2-b4f2-4ea8-90dc-56594dbc3f3f" providerId="ADAL" clId="{823277E2-3355-481F-B9B4-CEA109FA052E}" dt="2021-07-26T08:00:15.225" v="21"/>
          <ac:spMkLst>
            <pc:docMk/>
            <pc:sldMk cId="3268858664" sldId="14100"/>
            <ac:spMk id="2" creationId="{A64379B1-A39A-418A-806B-C19668D93C43}"/>
          </ac:spMkLst>
        </pc:spChg>
      </pc:sldChg>
      <pc:sldMasterChg chg="delSldLayout">
        <pc:chgData name="CAUSSIDOU, Fabienne" userId="d3b93ce2-b4f2-4ea8-90dc-56594dbc3f3f" providerId="ADAL" clId="{823277E2-3355-481F-B9B4-CEA109FA052E}" dt="2021-07-26T09:01:11.227" v="487" actId="2696"/>
        <pc:sldMasterMkLst>
          <pc:docMk/>
          <pc:sldMasterMk cId="2408941328" sldId="2147483660"/>
        </pc:sldMasterMkLst>
        <pc:sldLayoutChg chg="del">
          <pc:chgData name="CAUSSIDOU, Fabienne" userId="d3b93ce2-b4f2-4ea8-90dc-56594dbc3f3f" providerId="ADAL" clId="{823277E2-3355-481F-B9B4-CEA109FA052E}" dt="2021-07-26T09:01:11.227" v="487" actId="2696"/>
          <pc:sldLayoutMkLst>
            <pc:docMk/>
            <pc:sldMasterMk cId="2408941328" sldId="2147483660"/>
            <pc:sldLayoutMk cId="1972983994" sldId="2147483680"/>
          </pc:sldLayoutMkLst>
        </pc:sldLayoutChg>
      </pc:sldMasterChg>
      <pc:sldMasterChg chg="delSldLayout">
        <pc:chgData name="CAUSSIDOU, Fabienne" userId="d3b93ce2-b4f2-4ea8-90dc-56594dbc3f3f" providerId="ADAL" clId="{823277E2-3355-481F-B9B4-CEA109FA052E}" dt="2021-07-26T09:04:24.047" v="569" actId="2696"/>
        <pc:sldMasterMkLst>
          <pc:docMk/>
          <pc:sldMasterMk cId="286326205" sldId="2147483687"/>
        </pc:sldMasterMkLst>
        <pc:sldLayoutChg chg="del">
          <pc:chgData name="CAUSSIDOU, Fabienne" userId="d3b93ce2-b4f2-4ea8-90dc-56594dbc3f3f" providerId="ADAL" clId="{823277E2-3355-481F-B9B4-CEA109FA052E}" dt="2021-07-26T09:04:16.132" v="557" actId="2696"/>
          <pc:sldLayoutMkLst>
            <pc:docMk/>
            <pc:sldMasterMk cId="286326205" sldId="2147483687"/>
            <pc:sldLayoutMk cId="862459492" sldId="2147483690"/>
          </pc:sldLayoutMkLst>
        </pc:sldLayoutChg>
        <pc:sldLayoutChg chg="del">
          <pc:chgData name="CAUSSIDOU, Fabienne" userId="d3b93ce2-b4f2-4ea8-90dc-56594dbc3f3f" providerId="ADAL" clId="{823277E2-3355-481F-B9B4-CEA109FA052E}" dt="2021-07-26T09:04:16.463" v="558" actId="2696"/>
          <pc:sldLayoutMkLst>
            <pc:docMk/>
            <pc:sldMasterMk cId="286326205" sldId="2147483687"/>
            <pc:sldLayoutMk cId="1687806750" sldId="2147483691"/>
          </pc:sldLayoutMkLst>
        </pc:sldLayoutChg>
        <pc:sldLayoutChg chg="del">
          <pc:chgData name="CAUSSIDOU, Fabienne" userId="d3b93ce2-b4f2-4ea8-90dc-56594dbc3f3f" providerId="ADAL" clId="{823277E2-3355-481F-B9B4-CEA109FA052E}" dt="2021-07-26T09:04:18.455" v="559" actId="2696"/>
          <pc:sldLayoutMkLst>
            <pc:docMk/>
            <pc:sldMasterMk cId="286326205" sldId="2147483687"/>
            <pc:sldLayoutMk cId="3392446935" sldId="214748369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0.220" v="560" actId="2696"/>
          <pc:sldLayoutMkLst>
            <pc:docMk/>
            <pc:sldMasterMk cId="286326205" sldId="2147483687"/>
            <pc:sldLayoutMk cId="4149987466" sldId="214748369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0.533" v="561" actId="2696"/>
          <pc:sldLayoutMkLst>
            <pc:docMk/>
            <pc:sldMasterMk cId="286326205" sldId="2147483687"/>
            <pc:sldLayoutMk cId="3171437753" sldId="214748369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2.022" v="562" actId="2696"/>
          <pc:sldLayoutMkLst>
            <pc:docMk/>
            <pc:sldMasterMk cId="286326205" sldId="2147483687"/>
            <pc:sldLayoutMk cId="2916964389" sldId="214748369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2.292" v="563" actId="2696"/>
          <pc:sldLayoutMkLst>
            <pc:docMk/>
            <pc:sldMasterMk cId="286326205" sldId="2147483687"/>
            <pc:sldLayoutMk cId="839212182" sldId="214748369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2.524" v="564" actId="2696"/>
          <pc:sldLayoutMkLst>
            <pc:docMk/>
            <pc:sldMasterMk cId="286326205" sldId="2147483687"/>
            <pc:sldLayoutMk cId="2526015416" sldId="214748370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2.809" v="565" actId="2696"/>
          <pc:sldLayoutMkLst>
            <pc:docMk/>
            <pc:sldMasterMk cId="286326205" sldId="2147483687"/>
            <pc:sldLayoutMk cId="2489112935" sldId="214748370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3.245" v="566" actId="2696"/>
          <pc:sldLayoutMkLst>
            <pc:docMk/>
            <pc:sldMasterMk cId="286326205" sldId="2147483687"/>
            <pc:sldLayoutMk cId="2417318537" sldId="214748370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3.532" v="567" actId="2696"/>
          <pc:sldLayoutMkLst>
            <pc:docMk/>
            <pc:sldMasterMk cId="286326205" sldId="2147483687"/>
            <pc:sldLayoutMk cId="3696281537" sldId="214748370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3.820" v="568" actId="2696"/>
          <pc:sldLayoutMkLst>
            <pc:docMk/>
            <pc:sldMasterMk cId="286326205" sldId="2147483687"/>
            <pc:sldLayoutMk cId="3807424601" sldId="214748370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4.047" v="569" actId="2696"/>
          <pc:sldLayoutMkLst>
            <pc:docMk/>
            <pc:sldMasterMk cId="286326205" sldId="2147483687"/>
            <pc:sldLayoutMk cId="2284451977" sldId="2147483705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5.674" v="588" actId="2696"/>
        <pc:sldMasterMkLst>
          <pc:docMk/>
          <pc:sldMasterMk cId="3087931787" sldId="2147483706"/>
        </pc:sldMasterMkLst>
        <pc:sldLayoutChg chg="del">
          <pc:chgData name="CAUSSIDOU, Fabienne" userId="d3b93ce2-b4f2-4ea8-90dc-56594dbc3f3f" providerId="ADAL" clId="{823277E2-3355-481F-B9B4-CEA109FA052E}" dt="2021-07-26T09:04:25.538" v="570" actId="2696"/>
          <pc:sldLayoutMkLst>
            <pc:docMk/>
            <pc:sldMasterMk cId="3087931787" sldId="2147483706"/>
            <pc:sldLayoutMk cId="2812390231" sldId="214748370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38" v="571" actId="2696"/>
          <pc:sldLayoutMkLst>
            <pc:docMk/>
            <pc:sldMasterMk cId="3087931787" sldId="2147483706"/>
            <pc:sldLayoutMk cId="4103889626" sldId="214748370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38" v="572" actId="2696"/>
          <pc:sldLayoutMkLst>
            <pc:docMk/>
            <pc:sldMasterMk cId="3087931787" sldId="2147483706"/>
            <pc:sldLayoutMk cId="1409238436" sldId="214748370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48" v="573" actId="2696"/>
          <pc:sldLayoutMkLst>
            <pc:docMk/>
            <pc:sldMasterMk cId="3087931787" sldId="2147483706"/>
            <pc:sldLayoutMk cId="2006039620" sldId="214748371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48" v="574" actId="2696"/>
          <pc:sldLayoutMkLst>
            <pc:docMk/>
            <pc:sldMasterMk cId="3087931787" sldId="2147483706"/>
            <pc:sldLayoutMk cId="3953299369" sldId="214748371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59" v="575" actId="2696"/>
          <pc:sldLayoutMkLst>
            <pc:docMk/>
            <pc:sldMasterMk cId="3087931787" sldId="2147483706"/>
            <pc:sldLayoutMk cId="3906226233" sldId="214748371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64" v="576" actId="2696"/>
          <pc:sldLayoutMkLst>
            <pc:docMk/>
            <pc:sldMasterMk cId="3087931787" sldId="2147483706"/>
            <pc:sldLayoutMk cId="1587866104" sldId="214748371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69" v="577" actId="2696"/>
          <pc:sldLayoutMkLst>
            <pc:docMk/>
            <pc:sldMasterMk cId="3087931787" sldId="2147483706"/>
            <pc:sldLayoutMk cId="3860902174" sldId="214748371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69" v="578" actId="2696"/>
          <pc:sldLayoutMkLst>
            <pc:docMk/>
            <pc:sldMasterMk cId="3087931787" sldId="2147483706"/>
            <pc:sldLayoutMk cId="2525786496" sldId="214748371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79" v="579" actId="2696"/>
          <pc:sldLayoutMkLst>
            <pc:docMk/>
            <pc:sldMasterMk cId="3087931787" sldId="2147483706"/>
            <pc:sldLayoutMk cId="3789546485" sldId="214748371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79" v="580" actId="2696"/>
          <pc:sldLayoutMkLst>
            <pc:docMk/>
            <pc:sldMasterMk cId="3087931787" sldId="2147483706"/>
            <pc:sldLayoutMk cId="1334721137" sldId="214748371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84" v="581" actId="2696"/>
          <pc:sldLayoutMkLst>
            <pc:docMk/>
            <pc:sldMasterMk cId="3087931787" sldId="2147483706"/>
            <pc:sldLayoutMk cId="2633422201" sldId="214748371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88" v="582" actId="2696"/>
          <pc:sldLayoutMkLst>
            <pc:docMk/>
            <pc:sldMasterMk cId="3087931787" sldId="2147483706"/>
            <pc:sldLayoutMk cId="3588803587" sldId="214748371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88" v="583" actId="2696"/>
          <pc:sldLayoutMkLst>
            <pc:docMk/>
            <pc:sldMasterMk cId="3087931787" sldId="2147483706"/>
            <pc:sldLayoutMk cId="352858125" sldId="214748372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599" v="584" actId="2696"/>
          <pc:sldLayoutMkLst>
            <pc:docMk/>
            <pc:sldMasterMk cId="3087931787" sldId="2147483706"/>
            <pc:sldLayoutMk cId="4117759103" sldId="214748372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604" v="585" actId="2696"/>
          <pc:sldLayoutMkLst>
            <pc:docMk/>
            <pc:sldMasterMk cId="3087931787" sldId="2147483706"/>
            <pc:sldLayoutMk cId="1840882385" sldId="214748372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638" v="586" actId="2696"/>
          <pc:sldLayoutMkLst>
            <pc:docMk/>
            <pc:sldMasterMk cId="3087931787" sldId="2147483706"/>
            <pc:sldLayoutMk cId="772887960" sldId="214748372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638" v="587" actId="2696"/>
          <pc:sldLayoutMkLst>
            <pc:docMk/>
            <pc:sldMasterMk cId="3087931787" sldId="2147483706"/>
            <pc:sldLayoutMk cId="2841127872" sldId="2147483724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5.938" v="612" actId="2696"/>
        <pc:sldMasterMkLst>
          <pc:docMk/>
          <pc:sldMasterMk cId="500230787" sldId="2147483725"/>
        </pc:sldMasterMkLst>
        <pc:sldLayoutChg chg="del">
          <pc:chgData name="CAUSSIDOU, Fabienne" userId="d3b93ce2-b4f2-4ea8-90dc-56594dbc3f3f" providerId="ADAL" clId="{823277E2-3355-481F-B9B4-CEA109FA052E}" dt="2021-07-26T09:04:25.828" v="589" actId="2696"/>
          <pc:sldLayoutMkLst>
            <pc:docMk/>
            <pc:sldMasterMk cId="500230787" sldId="2147483725"/>
            <pc:sldLayoutMk cId="2596431844" sldId="214748372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28" v="590" actId="2696"/>
          <pc:sldLayoutMkLst>
            <pc:docMk/>
            <pc:sldMasterMk cId="500230787" sldId="2147483725"/>
            <pc:sldLayoutMk cId="4224617041" sldId="214748372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38" v="591" actId="2696"/>
          <pc:sldLayoutMkLst>
            <pc:docMk/>
            <pc:sldMasterMk cId="500230787" sldId="2147483725"/>
            <pc:sldLayoutMk cId="2190277947" sldId="214748372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43" v="592" actId="2696"/>
          <pc:sldLayoutMkLst>
            <pc:docMk/>
            <pc:sldMasterMk cId="500230787" sldId="2147483725"/>
            <pc:sldLayoutMk cId="1348896136" sldId="214748372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48" v="593" actId="2696"/>
          <pc:sldLayoutMkLst>
            <pc:docMk/>
            <pc:sldMasterMk cId="500230787" sldId="2147483725"/>
            <pc:sldLayoutMk cId="1087556954" sldId="214748373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53" v="594" actId="2696"/>
          <pc:sldLayoutMkLst>
            <pc:docMk/>
            <pc:sldMasterMk cId="500230787" sldId="2147483725"/>
            <pc:sldLayoutMk cId="2369953788" sldId="214748373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58" v="595" actId="2696"/>
          <pc:sldLayoutMkLst>
            <pc:docMk/>
            <pc:sldMasterMk cId="500230787" sldId="2147483725"/>
            <pc:sldLayoutMk cId="1641162047" sldId="214748373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69" v="596" actId="2696"/>
          <pc:sldLayoutMkLst>
            <pc:docMk/>
            <pc:sldMasterMk cId="500230787" sldId="2147483725"/>
            <pc:sldLayoutMk cId="1814859303" sldId="214748373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69" v="597" actId="2696"/>
          <pc:sldLayoutMkLst>
            <pc:docMk/>
            <pc:sldMasterMk cId="500230787" sldId="2147483725"/>
            <pc:sldLayoutMk cId="1156368691" sldId="214748373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74" v="598" actId="2696"/>
          <pc:sldLayoutMkLst>
            <pc:docMk/>
            <pc:sldMasterMk cId="500230787" sldId="2147483725"/>
            <pc:sldLayoutMk cId="359100131" sldId="214748373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79" v="599" actId="2696"/>
          <pc:sldLayoutMkLst>
            <pc:docMk/>
            <pc:sldMasterMk cId="500230787" sldId="2147483725"/>
            <pc:sldLayoutMk cId="2604133099" sldId="214748373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84" v="600" actId="2696"/>
          <pc:sldLayoutMkLst>
            <pc:docMk/>
            <pc:sldMasterMk cId="500230787" sldId="2147483725"/>
            <pc:sldLayoutMk cId="3268307456" sldId="214748373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84" v="601" actId="2696"/>
          <pc:sldLayoutMkLst>
            <pc:docMk/>
            <pc:sldMasterMk cId="500230787" sldId="2147483725"/>
            <pc:sldLayoutMk cId="323355108" sldId="214748373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88" v="602" actId="2696"/>
          <pc:sldLayoutMkLst>
            <pc:docMk/>
            <pc:sldMasterMk cId="500230787" sldId="2147483725"/>
            <pc:sldLayoutMk cId="2066754433" sldId="214748373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88" v="603" actId="2696"/>
          <pc:sldLayoutMkLst>
            <pc:docMk/>
            <pc:sldMasterMk cId="500230787" sldId="2147483725"/>
            <pc:sldLayoutMk cId="4201988621" sldId="214748374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98" v="604" actId="2696"/>
          <pc:sldLayoutMkLst>
            <pc:docMk/>
            <pc:sldMasterMk cId="500230787" sldId="2147483725"/>
            <pc:sldLayoutMk cId="3846321167" sldId="214748374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898" v="605" actId="2696"/>
          <pc:sldLayoutMkLst>
            <pc:docMk/>
            <pc:sldMasterMk cId="500230787" sldId="2147483725"/>
            <pc:sldLayoutMk cId="1829040479" sldId="214748374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03" v="606" actId="2696"/>
          <pc:sldLayoutMkLst>
            <pc:docMk/>
            <pc:sldMasterMk cId="500230787" sldId="2147483725"/>
            <pc:sldLayoutMk cId="2196126932" sldId="214748374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03" v="607" actId="2696"/>
          <pc:sldLayoutMkLst>
            <pc:docMk/>
            <pc:sldMasterMk cId="500230787" sldId="2147483725"/>
            <pc:sldLayoutMk cId="1193594877" sldId="214748374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08" v="608" actId="2696"/>
          <pc:sldLayoutMkLst>
            <pc:docMk/>
            <pc:sldMasterMk cId="500230787" sldId="2147483725"/>
            <pc:sldLayoutMk cId="3469386594" sldId="214748374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08" v="609" actId="2696"/>
          <pc:sldLayoutMkLst>
            <pc:docMk/>
            <pc:sldMasterMk cId="500230787" sldId="2147483725"/>
            <pc:sldLayoutMk cId="2204629384" sldId="214748374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13" v="610" actId="2696"/>
          <pc:sldLayoutMkLst>
            <pc:docMk/>
            <pc:sldMasterMk cId="500230787" sldId="2147483725"/>
            <pc:sldLayoutMk cId="2386148294" sldId="214748374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5.918" v="611" actId="2696"/>
          <pc:sldLayoutMkLst>
            <pc:docMk/>
            <pc:sldMasterMk cId="500230787" sldId="2147483725"/>
            <pc:sldLayoutMk cId="3192688415" sldId="2147483748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184" v="631" actId="2696"/>
        <pc:sldMasterMkLst>
          <pc:docMk/>
          <pc:sldMasterMk cId="2277396439" sldId="2147483749"/>
        </pc:sldMasterMkLst>
        <pc:sldLayoutChg chg="del">
          <pc:chgData name="CAUSSIDOU, Fabienne" userId="d3b93ce2-b4f2-4ea8-90dc-56594dbc3f3f" providerId="ADAL" clId="{823277E2-3355-481F-B9B4-CEA109FA052E}" dt="2021-07-26T09:04:26.029" v="613" actId="2696"/>
          <pc:sldLayoutMkLst>
            <pc:docMk/>
            <pc:sldMasterMk cId="2277396439" sldId="2147483749"/>
            <pc:sldLayoutMk cId="4095035664" sldId="214748375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39" v="614" actId="2696"/>
          <pc:sldLayoutMkLst>
            <pc:docMk/>
            <pc:sldMasterMk cId="2277396439" sldId="2147483749"/>
            <pc:sldLayoutMk cId="756254378" sldId="214748375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39" v="615" actId="2696"/>
          <pc:sldLayoutMkLst>
            <pc:docMk/>
            <pc:sldMasterMk cId="2277396439" sldId="2147483749"/>
            <pc:sldLayoutMk cId="576709364" sldId="214748375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69" v="616" actId="2696"/>
          <pc:sldLayoutMkLst>
            <pc:docMk/>
            <pc:sldMasterMk cId="2277396439" sldId="2147483749"/>
            <pc:sldLayoutMk cId="1482123049" sldId="214748375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78" v="617" actId="2696"/>
          <pc:sldLayoutMkLst>
            <pc:docMk/>
            <pc:sldMasterMk cId="2277396439" sldId="2147483749"/>
            <pc:sldLayoutMk cId="557410787" sldId="214748375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78" v="618" actId="2696"/>
          <pc:sldLayoutMkLst>
            <pc:docMk/>
            <pc:sldMasterMk cId="2277396439" sldId="2147483749"/>
            <pc:sldLayoutMk cId="2879195784" sldId="214748375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99" v="619" actId="2696"/>
          <pc:sldLayoutMkLst>
            <pc:docMk/>
            <pc:sldMasterMk cId="2277396439" sldId="2147483749"/>
            <pc:sldLayoutMk cId="4034547405" sldId="214748375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099" v="620" actId="2696"/>
          <pc:sldLayoutMkLst>
            <pc:docMk/>
            <pc:sldMasterMk cId="2277396439" sldId="2147483749"/>
            <pc:sldLayoutMk cId="2357318449" sldId="214748375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13" v="621" actId="2696"/>
          <pc:sldLayoutMkLst>
            <pc:docMk/>
            <pc:sldMasterMk cId="2277396439" sldId="2147483749"/>
            <pc:sldLayoutMk cId="1459777015" sldId="214748375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18" v="622" actId="2696"/>
          <pc:sldLayoutMkLst>
            <pc:docMk/>
            <pc:sldMasterMk cId="2277396439" sldId="2147483749"/>
            <pc:sldLayoutMk cId="1014112491" sldId="214748375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18" v="623" actId="2696"/>
          <pc:sldLayoutMkLst>
            <pc:docMk/>
            <pc:sldMasterMk cId="2277396439" sldId="2147483749"/>
            <pc:sldLayoutMk cId="1675255841" sldId="214748376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28" v="624" actId="2696"/>
          <pc:sldLayoutMkLst>
            <pc:docMk/>
            <pc:sldMasterMk cId="2277396439" sldId="2147483749"/>
            <pc:sldLayoutMk cId="3264384788" sldId="214748376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33" v="625" actId="2696"/>
          <pc:sldLayoutMkLst>
            <pc:docMk/>
            <pc:sldMasterMk cId="2277396439" sldId="2147483749"/>
            <pc:sldLayoutMk cId="1527264013" sldId="214748376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33" v="626" actId="2696"/>
          <pc:sldLayoutMkLst>
            <pc:docMk/>
            <pc:sldMasterMk cId="2277396439" sldId="2147483749"/>
            <pc:sldLayoutMk cId="3584226540" sldId="214748376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38" v="627" actId="2696"/>
          <pc:sldLayoutMkLst>
            <pc:docMk/>
            <pc:sldMasterMk cId="2277396439" sldId="2147483749"/>
            <pc:sldLayoutMk cId="414326796" sldId="214748376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49" v="628" actId="2696"/>
          <pc:sldLayoutMkLst>
            <pc:docMk/>
            <pc:sldMasterMk cId="2277396439" sldId="2147483749"/>
            <pc:sldLayoutMk cId="3926910737" sldId="214748376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49" v="629" actId="2696"/>
          <pc:sldLayoutMkLst>
            <pc:docMk/>
            <pc:sldMasterMk cId="2277396439" sldId="2147483749"/>
            <pc:sldLayoutMk cId="4167743910" sldId="214748376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159" v="630" actId="2696"/>
          <pc:sldLayoutMkLst>
            <pc:docMk/>
            <pc:sldMasterMk cId="2277396439" sldId="2147483749"/>
            <pc:sldLayoutMk cId="642604866" sldId="2147483767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564" v="657" actId="2696"/>
        <pc:sldMasterMkLst>
          <pc:docMk/>
          <pc:sldMasterMk cId="795110039" sldId="2147483768"/>
        </pc:sldMasterMkLst>
        <pc:sldLayoutChg chg="del">
          <pc:chgData name="CAUSSIDOU, Fabienne" userId="d3b93ce2-b4f2-4ea8-90dc-56594dbc3f3f" providerId="ADAL" clId="{823277E2-3355-481F-B9B4-CEA109FA052E}" dt="2021-07-26T09:04:26.259" v="632" actId="2696"/>
          <pc:sldLayoutMkLst>
            <pc:docMk/>
            <pc:sldMasterMk cId="795110039" sldId="2147483768"/>
            <pc:sldLayoutMk cId="2586055124" sldId="214748376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278" v="633" actId="2696"/>
          <pc:sldLayoutMkLst>
            <pc:docMk/>
            <pc:sldMasterMk cId="795110039" sldId="2147483768"/>
            <pc:sldLayoutMk cId="162986405" sldId="214748377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293" v="634" actId="2696"/>
          <pc:sldLayoutMkLst>
            <pc:docMk/>
            <pc:sldMasterMk cId="795110039" sldId="2147483768"/>
            <pc:sldLayoutMk cId="3924607678" sldId="214748377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299" v="635" actId="2696"/>
          <pc:sldLayoutMkLst>
            <pc:docMk/>
            <pc:sldMasterMk cId="795110039" sldId="2147483768"/>
            <pc:sldLayoutMk cId="2810814061" sldId="214748377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09" v="636" actId="2696"/>
          <pc:sldLayoutMkLst>
            <pc:docMk/>
            <pc:sldMasterMk cId="795110039" sldId="2147483768"/>
            <pc:sldLayoutMk cId="3665387058" sldId="214748377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18" v="637" actId="2696"/>
          <pc:sldLayoutMkLst>
            <pc:docMk/>
            <pc:sldMasterMk cId="795110039" sldId="2147483768"/>
            <pc:sldLayoutMk cId="2359983538" sldId="214748377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18" v="638" actId="2696"/>
          <pc:sldLayoutMkLst>
            <pc:docMk/>
            <pc:sldMasterMk cId="795110039" sldId="2147483768"/>
            <pc:sldLayoutMk cId="4130642610" sldId="214748377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29" v="639" actId="2696"/>
          <pc:sldLayoutMkLst>
            <pc:docMk/>
            <pc:sldMasterMk cId="795110039" sldId="2147483768"/>
            <pc:sldLayoutMk cId="2102675008" sldId="214748377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29" v="640" actId="2696"/>
          <pc:sldLayoutMkLst>
            <pc:docMk/>
            <pc:sldMasterMk cId="795110039" sldId="2147483768"/>
            <pc:sldLayoutMk cId="2532846446" sldId="214748377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29" v="641" actId="2696"/>
          <pc:sldLayoutMkLst>
            <pc:docMk/>
            <pc:sldMasterMk cId="795110039" sldId="2147483768"/>
            <pc:sldLayoutMk cId="3953457446" sldId="214748377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39" v="642" actId="2696"/>
          <pc:sldLayoutMkLst>
            <pc:docMk/>
            <pc:sldMasterMk cId="795110039" sldId="2147483768"/>
            <pc:sldLayoutMk cId="4271657630" sldId="214748377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39" v="643" actId="2696"/>
          <pc:sldLayoutMkLst>
            <pc:docMk/>
            <pc:sldMasterMk cId="795110039" sldId="2147483768"/>
            <pc:sldLayoutMk cId="947928727" sldId="214748378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39" v="644" actId="2696"/>
          <pc:sldLayoutMkLst>
            <pc:docMk/>
            <pc:sldMasterMk cId="795110039" sldId="2147483768"/>
            <pc:sldLayoutMk cId="3413945535" sldId="214748378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39" v="645" actId="2696"/>
          <pc:sldLayoutMkLst>
            <pc:docMk/>
            <pc:sldMasterMk cId="795110039" sldId="2147483768"/>
            <pc:sldLayoutMk cId="3378744465" sldId="214748378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4" v="646" actId="2696"/>
          <pc:sldLayoutMkLst>
            <pc:docMk/>
            <pc:sldMasterMk cId="795110039" sldId="2147483768"/>
            <pc:sldLayoutMk cId="2600615879" sldId="214748378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9" v="647" actId="2696"/>
          <pc:sldLayoutMkLst>
            <pc:docMk/>
            <pc:sldMasterMk cId="795110039" sldId="2147483768"/>
            <pc:sldLayoutMk cId="908846113" sldId="214748378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9" v="648" actId="2696"/>
          <pc:sldLayoutMkLst>
            <pc:docMk/>
            <pc:sldMasterMk cId="795110039" sldId="2147483768"/>
            <pc:sldLayoutMk cId="1927926538" sldId="214748378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9" v="649" actId="2696"/>
          <pc:sldLayoutMkLst>
            <pc:docMk/>
            <pc:sldMasterMk cId="795110039" sldId="2147483768"/>
            <pc:sldLayoutMk cId="374763832" sldId="214748378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49" v="650" actId="2696"/>
          <pc:sldLayoutMkLst>
            <pc:docMk/>
            <pc:sldMasterMk cId="795110039" sldId="2147483768"/>
            <pc:sldLayoutMk cId="3644486173" sldId="214748378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369" v="651" actId="2696"/>
          <pc:sldLayoutMkLst>
            <pc:docMk/>
            <pc:sldMasterMk cId="795110039" sldId="2147483768"/>
            <pc:sldLayoutMk cId="4166359159" sldId="214748378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414" v="652" actId="2696"/>
          <pc:sldLayoutMkLst>
            <pc:docMk/>
            <pc:sldMasterMk cId="795110039" sldId="2147483768"/>
            <pc:sldLayoutMk cId="1782064609" sldId="214748378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459" v="653" actId="2696"/>
          <pc:sldLayoutMkLst>
            <pc:docMk/>
            <pc:sldMasterMk cId="795110039" sldId="2147483768"/>
            <pc:sldLayoutMk cId="1344294760" sldId="214748379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483" v="654" actId="2696"/>
          <pc:sldLayoutMkLst>
            <pc:docMk/>
            <pc:sldMasterMk cId="795110039" sldId="2147483768"/>
            <pc:sldLayoutMk cId="3647318807" sldId="214748379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503" v="655" actId="2696"/>
          <pc:sldLayoutMkLst>
            <pc:docMk/>
            <pc:sldMasterMk cId="795110039" sldId="2147483768"/>
            <pc:sldLayoutMk cId="213904262" sldId="214748379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503" v="656" actId="2696"/>
          <pc:sldLayoutMkLst>
            <pc:docMk/>
            <pc:sldMasterMk cId="795110039" sldId="2147483768"/>
            <pc:sldLayoutMk cId="59876936" sldId="2147483793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839" v="677" actId="2696"/>
        <pc:sldMasterMkLst>
          <pc:docMk/>
          <pc:sldMasterMk cId="137792030" sldId="2147483795"/>
        </pc:sldMasterMkLst>
        <pc:sldLayoutChg chg="del">
          <pc:chgData name="CAUSSIDOU, Fabienne" userId="d3b93ce2-b4f2-4ea8-90dc-56594dbc3f3f" providerId="ADAL" clId="{823277E2-3355-481F-B9B4-CEA109FA052E}" dt="2021-07-26T09:04:26.758" v="658" actId="2696"/>
          <pc:sldLayoutMkLst>
            <pc:docMk/>
            <pc:sldMasterMk cId="137792030" sldId="2147483795"/>
            <pc:sldLayoutMk cId="1100559118" sldId="214748379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58" v="659" actId="2696"/>
          <pc:sldLayoutMkLst>
            <pc:docMk/>
            <pc:sldMasterMk cId="137792030" sldId="2147483795"/>
            <pc:sldLayoutMk cId="1912231734" sldId="214748379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0" v="660" actId="2696"/>
          <pc:sldLayoutMkLst>
            <pc:docMk/>
            <pc:sldMasterMk cId="137792030" sldId="2147483795"/>
            <pc:sldLayoutMk cId="637741110" sldId="214748379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0" v="661" actId="2696"/>
          <pc:sldLayoutMkLst>
            <pc:docMk/>
            <pc:sldMasterMk cId="137792030" sldId="2147483795"/>
            <pc:sldLayoutMk cId="1644707152" sldId="214748379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3" v="662" actId="2696"/>
          <pc:sldLayoutMkLst>
            <pc:docMk/>
            <pc:sldMasterMk cId="137792030" sldId="2147483795"/>
            <pc:sldLayoutMk cId="3483479556" sldId="214748380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3" v="663" actId="2696"/>
          <pc:sldLayoutMkLst>
            <pc:docMk/>
            <pc:sldMasterMk cId="137792030" sldId="2147483795"/>
            <pc:sldLayoutMk cId="4213932443" sldId="214748380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3" v="664" actId="2696"/>
          <pc:sldLayoutMkLst>
            <pc:docMk/>
            <pc:sldMasterMk cId="137792030" sldId="2147483795"/>
            <pc:sldLayoutMk cId="2163766419" sldId="214748380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78" v="665" actId="2696"/>
          <pc:sldLayoutMkLst>
            <pc:docMk/>
            <pc:sldMasterMk cId="137792030" sldId="2147483795"/>
            <pc:sldLayoutMk cId="2033346988" sldId="214748380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3" v="666" actId="2696"/>
          <pc:sldLayoutMkLst>
            <pc:docMk/>
            <pc:sldMasterMk cId="137792030" sldId="2147483795"/>
            <pc:sldLayoutMk cId="705498554" sldId="2147483804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3" v="667" actId="2696"/>
          <pc:sldLayoutMkLst>
            <pc:docMk/>
            <pc:sldMasterMk cId="137792030" sldId="2147483795"/>
            <pc:sldLayoutMk cId="397873309" sldId="2147483805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3" v="668" actId="2696"/>
          <pc:sldLayoutMkLst>
            <pc:docMk/>
            <pc:sldMasterMk cId="137792030" sldId="2147483795"/>
            <pc:sldLayoutMk cId="3994676311" sldId="2147483806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3" v="669" actId="2696"/>
          <pc:sldLayoutMkLst>
            <pc:docMk/>
            <pc:sldMasterMk cId="137792030" sldId="2147483795"/>
            <pc:sldLayoutMk cId="3251182150" sldId="2147483807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9" v="670" actId="2696"/>
          <pc:sldLayoutMkLst>
            <pc:docMk/>
            <pc:sldMasterMk cId="137792030" sldId="2147483795"/>
            <pc:sldLayoutMk cId="4162899958" sldId="2147483808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9" v="671" actId="2696"/>
          <pc:sldLayoutMkLst>
            <pc:docMk/>
            <pc:sldMasterMk cId="137792030" sldId="2147483795"/>
            <pc:sldLayoutMk cId="444991324" sldId="2147483809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89" v="672" actId="2696"/>
          <pc:sldLayoutMkLst>
            <pc:docMk/>
            <pc:sldMasterMk cId="137792030" sldId="2147483795"/>
            <pc:sldLayoutMk cId="1236768527" sldId="2147483810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94" v="673" actId="2696"/>
          <pc:sldLayoutMkLst>
            <pc:docMk/>
            <pc:sldMasterMk cId="137792030" sldId="2147483795"/>
            <pc:sldLayoutMk cId="3399124405" sldId="2147483811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794" v="674" actId="2696"/>
          <pc:sldLayoutMkLst>
            <pc:docMk/>
            <pc:sldMasterMk cId="137792030" sldId="2147483795"/>
            <pc:sldLayoutMk cId="3274571238" sldId="2147483812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800" v="675" actId="2696"/>
          <pc:sldLayoutMkLst>
            <pc:docMk/>
            <pc:sldMasterMk cId="137792030" sldId="2147483795"/>
            <pc:sldLayoutMk cId="3701083960" sldId="2147483813"/>
          </pc:sldLayoutMkLst>
        </pc:sldLayoutChg>
        <pc:sldLayoutChg chg="del">
          <pc:chgData name="CAUSSIDOU, Fabienne" userId="d3b93ce2-b4f2-4ea8-90dc-56594dbc3f3f" providerId="ADAL" clId="{823277E2-3355-481F-B9B4-CEA109FA052E}" dt="2021-07-26T09:04:26.800" v="676" actId="2696"/>
          <pc:sldLayoutMkLst>
            <pc:docMk/>
            <pc:sldMasterMk cId="137792030" sldId="2147483795"/>
            <pc:sldLayoutMk cId="506889516" sldId="2147483814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870" v="678" actId="2696"/>
        <pc:sldMasterMkLst>
          <pc:docMk/>
          <pc:sldMasterMk cId="4128981787" sldId="2147483815"/>
        </pc:sldMasterMkLst>
        <pc:sldLayoutChg chg="del">
          <pc:chgData name="CAUSSIDOU, Fabienne" userId="d3b93ce2-b4f2-4ea8-90dc-56594dbc3f3f" providerId="ADAL" clId="{823277E2-3355-481F-B9B4-CEA109FA052E}" dt="2021-07-26T09:04:07.540" v="556" actId="2696"/>
          <pc:sldLayoutMkLst>
            <pc:docMk/>
            <pc:sldMasterMk cId="4128981787" sldId="2147483815"/>
            <pc:sldLayoutMk cId="271419905" sldId="214748381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518" v="555" actId="2696"/>
          <pc:sldLayoutMkLst>
            <pc:docMk/>
            <pc:sldMasterMk cId="4128981787" sldId="2147483815"/>
            <pc:sldLayoutMk cId="1818017247" sldId="214748381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481" v="554" actId="2696"/>
          <pc:sldLayoutMkLst>
            <pc:docMk/>
            <pc:sldMasterMk cId="4128981787" sldId="2147483815"/>
            <pc:sldLayoutMk cId="1805524497" sldId="214748381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426" v="553" actId="2696"/>
          <pc:sldLayoutMkLst>
            <pc:docMk/>
            <pc:sldMasterMk cId="4128981787" sldId="2147483815"/>
            <pc:sldLayoutMk cId="4028798490" sldId="214748381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405" v="552" actId="2696"/>
          <pc:sldLayoutMkLst>
            <pc:docMk/>
            <pc:sldMasterMk cId="4128981787" sldId="2147483815"/>
            <pc:sldLayoutMk cId="2315782474" sldId="214748382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375" v="551" actId="2696"/>
          <pc:sldLayoutMkLst>
            <pc:docMk/>
            <pc:sldMasterMk cId="4128981787" sldId="2147483815"/>
            <pc:sldLayoutMk cId="2817086684" sldId="2147483821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354" v="550" actId="2696"/>
          <pc:sldLayoutMkLst>
            <pc:docMk/>
            <pc:sldMasterMk cId="4128981787" sldId="2147483815"/>
            <pc:sldLayoutMk cId="4010000833" sldId="214748382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293" v="549" actId="2696"/>
          <pc:sldLayoutMkLst>
            <pc:docMk/>
            <pc:sldMasterMk cId="4128981787" sldId="2147483815"/>
            <pc:sldLayoutMk cId="97403932" sldId="214748382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271" v="548" actId="2696"/>
          <pc:sldLayoutMkLst>
            <pc:docMk/>
            <pc:sldMasterMk cId="4128981787" sldId="2147483815"/>
            <pc:sldLayoutMk cId="1561938898" sldId="214748382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238" v="547" actId="2696"/>
          <pc:sldLayoutMkLst>
            <pc:docMk/>
            <pc:sldMasterMk cId="4128981787" sldId="2147483815"/>
            <pc:sldLayoutMk cId="1509919437" sldId="214748382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207" v="546" actId="2696"/>
          <pc:sldLayoutMkLst>
            <pc:docMk/>
            <pc:sldMasterMk cId="4128981787" sldId="2147483815"/>
            <pc:sldLayoutMk cId="227516109" sldId="214748382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177" v="545" actId="2696"/>
          <pc:sldLayoutMkLst>
            <pc:docMk/>
            <pc:sldMasterMk cId="4128981787" sldId="2147483815"/>
            <pc:sldLayoutMk cId="777629636" sldId="214748382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150" v="544" actId="2696"/>
          <pc:sldLayoutMkLst>
            <pc:docMk/>
            <pc:sldMasterMk cId="4128981787" sldId="2147483815"/>
            <pc:sldLayoutMk cId="878588101" sldId="214748382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128" v="543" actId="2696"/>
          <pc:sldLayoutMkLst>
            <pc:docMk/>
            <pc:sldMasterMk cId="4128981787" sldId="2147483815"/>
            <pc:sldLayoutMk cId="1369588119" sldId="214748382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7.100" v="542" actId="2696"/>
          <pc:sldLayoutMkLst>
            <pc:docMk/>
            <pc:sldMasterMk cId="4128981787" sldId="2147483815"/>
            <pc:sldLayoutMk cId="1235316573" sldId="214748383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994" v="541" actId="2696"/>
          <pc:sldLayoutMkLst>
            <pc:docMk/>
            <pc:sldMasterMk cId="4128981787" sldId="2147483815"/>
            <pc:sldLayoutMk cId="2032897250" sldId="2147483831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972" v="540" actId="2696"/>
          <pc:sldLayoutMkLst>
            <pc:docMk/>
            <pc:sldMasterMk cId="4128981787" sldId="2147483815"/>
            <pc:sldLayoutMk cId="2546638932" sldId="214748383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115" v="531" actId="2696"/>
          <pc:sldLayoutMkLst>
            <pc:docMk/>
            <pc:sldMasterMk cId="4128981787" sldId="2147483815"/>
            <pc:sldLayoutMk cId="73004567" sldId="214748383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604" v="532" actId="2696"/>
          <pc:sldLayoutMkLst>
            <pc:docMk/>
            <pc:sldMasterMk cId="4128981787" sldId="2147483815"/>
            <pc:sldLayoutMk cId="1078215565" sldId="214748383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671" v="533" actId="2696"/>
          <pc:sldLayoutMkLst>
            <pc:docMk/>
            <pc:sldMasterMk cId="4128981787" sldId="2147483815"/>
            <pc:sldLayoutMk cId="3878193866" sldId="214748383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726" v="534" actId="2696"/>
          <pc:sldLayoutMkLst>
            <pc:docMk/>
            <pc:sldMasterMk cId="4128981787" sldId="2147483815"/>
            <pc:sldLayoutMk cId="1203335412" sldId="214748383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779" v="535" actId="2696"/>
          <pc:sldLayoutMkLst>
            <pc:docMk/>
            <pc:sldMasterMk cId="4128981787" sldId="2147483815"/>
            <pc:sldLayoutMk cId="2244165850" sldId="214748383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837" v="536" actId="2696"/>
          <pc:sldLayoutMkLst>
            <pc:docMk/>
            <pc:sldMasterMk cId="4128981787" sldId="2147483815"/>
            <pc:sldLayoutMk cId="4202857473" sldId="214748383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889" v="537" actId="2696"/>
          <pc:sldLayoutMkLst>
            <pc:docMk/>
            <pc:sldMasterMk cId="4128981787" sldId="2147483815"/>
            <pc:sldLayoutMk cId="402355339" sldId="214748383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905" v="538" actId="2696"/>
          <pc:sldLayoutMkLst>
            <pc:docMk/>
            <pc:sldMasterMk cId="4128981787" sldId="2147483815"/>
            <pc:sldLayoutMk cId="1516662386" sldId="214748384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6.929" v="539" actId="2696"/>
          <pc:sldLayoutMkLst>
            <pc:docMk/>
            <pc:sldMasterMk cId="4128981787" sldId="2147483815"/>
            <pc:sldLayoutMk cId="2271333255" sldId="2147483841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904" v="679" actId="2696"/>
        <pc:sldMasterMkLst>
          <pc:docMk/>
          <pc:sldMasterMk cId="432874658" sldId="2147483852"/>
        </pc:sldMasterMkLst>
        <pc:sldLayoutChg chg="del">
          <pc:chgData name="CAUSSIDOU, Fabienne" userId="d3b93ce2-b4f2-4ea8-90dc-56594dbc3f3f" providerId="ADAL" clId="{823277E2-3355-481F-B9B4-CEA109FA052E}" dt="2021-07-26T09:04:04.184" v="530" actId="2696"/>
          <pc:sldLayoutMkLst>
            <pc:docMk/>
            <pc:sldMasterMk cId="432874658" sldId="2147483852"/>
            <pc:sldLayoutMk cId="1663883163" sldId="214748385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4.152" v="529" actId="2696"/>
          <pc:sldLayoutMkLst>
            <pc:docMk/>
            <pc:sldMasterMk cId="432874658" sldId="2147483852"/>
            <pc:sldLayoutMk cId="1982537035" sldId="214748385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4.121" v="528" actId="2696"/>
          <pc:sldLayoutMkLst>
            <pc:docMk/>
            <pc:sldMasterMk cId="432874658" sldId="2147483852"/>
            <pc:sldLayoutMk cId="2553861699" sldId="214748385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4.111" v="527" actId="2696"/>
          <pc:sldLayoutMkLst>
            <pc:docMk/>
            <pc:sldMasterMk cId="432874658" sldId="2147483852"/>
            <pc:sldLayoutMk cId="1827484579" sldId="214748385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4.038" v="526" actId="2696"/>
          <pc:sldLayoutMkLst>
            <pc:docMk/>
            <pc:sldMasterMk cId="432874658" sldId="2147483852"/>
            <pc:sldLayoutMk cId="390789578" sldId="214748385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997" v="525" actId="2696"/>
          <pc:sldLayoutMkLst>
            <pc:docMk/>
            <pc:sldMasterMk cId="432874658" sldId="2147483852"/>
            <pc:sldLayoutMk cId="1454189841" sldId="214748385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975" v="524" actId="2696"/>
          <pc:sldLayoutMkLst>
            <pc:docMk/>
            <pc:sldMasterMk cId="432874658" sldId="2147483852"/>
            <pc:sldLayoutMk cId="140270039" sldId="214748385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949" v="523" actId="2696"/>
          <pc:sldLayoutMkLst>
            <pc:docMk/>
            <pc:sldMasterMk cId="432874658" sldId="2147483852"/>
            <pc:sldLayoutMk cId="3671678323" sldId="214748386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917" v="522" actId="2696"/>
          <pc:sldLayoutMkLst>
            <pc:docMk/>
            <pc:sldMasterMk cId="432874658" sldId="2147483852"/>
            <pc:sldLayoutMk cId="2832916609" sldId="2147483861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840" v="521" actId="2696"/>
          <pc:sldLayoutMkLst>
            <pc:docMk/>
            <pc:sldMasterMk cId="432874658" sldId="2147483852"/>
            <pc:sldLayoutMk cId="623716930" sldId="214748386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808" v="520" actId="2696"/>
          <pc:sldLayoutMkLst>
            <pc:docMk/>
            <pc:sldMasterMk cId="432874658" sldId="2147483852"/>
            <pc:sldLayoutMk cId="4222070652" sldId="214748386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790" v="519" actId="2696"/>
          <pc:sldLayoutMkLst>
            <pc:docMk/>
            <pc:sldMasterMk cId="432874658" sldId="2147483852"/>
            <pc:sldLayoutMk cId="106242057" sldId="214748386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745" v="518" actId="2696"/>
          <pc:sldLayoutMkLst>
            <pc:docMk/>
            <pc:sldMasterMk cId="432874658" sldId="2147483852"/>
            <pc:sldLayoutMk cId="3604606776" sldId="214748386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714" v="517" actId="2696"/>
          <pc:sldLayoutMkLst>
            <pc:docMk/>
            <pc:sldMasterMk cId="432874658" sldId="2147483852"/>
            <pc:sldLayoutMk cId="640927557" sldId="214748386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665" v="516" actId="2696"/>
          <pc:sldLayoutMkLst>
            <pc:docMk/>
            <pc:sldMasterMk cId="432874658" sldId="2147483852"/>
            <pc:sldLayoutMk cId="3301121834" sldId="214748386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634" v="515" actId="2696"/>
          <pc:sldLayoutMkLst>
            <pc:docMk/>
            <pc:sldMasterMk cId="432874658" sldId="2147483852"/>
            <pc:sldLayoutMk cId="1512520372" sldId="214748386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624" v="514" actId="2696"/>
          <pc:sldLayoutMkLst>
            <pc:docMk/>
            <pc:sldMasterMk cId="432874658" sldId="2147483852"/>
            <pc:sldLayoutMk cId="1843071228" sldId="214748386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3.107" v="513" actId="2696"/>
          <pc:sldLayoutMkLst>
            <pc:docMk/>
            <pc:sldMasterMk cId="432874658" sldId="2147483852"/>
            <pc:sldLayoutMk cId="3049351868" sldId="2147483870"/>
          </pc:sldLayoutMkLst>
        </pc:sldLayoutChg>
      </pc:sldMasterChg>
      <pc:sldMasterChg chg="del delSldLayout">
        <pc:chgData name="CAUSSIDOU, Fabienne" userId="d3b93ce2-b4f2-4ea8-90dc-56594dbc3f3f" providerId="ADAL" clId="{823277E2-3355-481F-B9B4-CEA109FA052E}" dt="2021-07-26T09:04:26.939" v="680" actId="2696"/>
        <pc:sldMasterMkLst>
          <pc:docMk/>
          <pc:sldMasterMk cId="1930222882" sldId="2147483871"/>
        </pc:sldMasterMkLst>
        <pc:sldLayoutChg chg="del">
          <pc:chgData name="CAUSSIDOU, Fabienne" userId="d3b93ce2-b4f2-4ea8-90dc-56594dbc3f3f" providerId="ADAL" clId="{823277E2-3355-481F-B9B4-CEA109FA052E}" dt="2021-07-26T09:04:01.327" v="512" actId="2696"/>
          <pc:sldLayoutMkLst>
            <pc:docMk/>
            <pc:sldMasterMk cId="1930222882" sldId="2147483871"/>
            <pc:sldLayoutMk cId="1274433506" sldId="214748387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274" v="511" actId="2696"/>
          <pc:sldLayoutMkLst>
            <pc:docMk/>
            <pc:sldMasterMk cId="1930222882" sldId="2147483871"/>
            <pc:sldLayoutMk cId="4281188551" sldId="214748387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243" v="510" actId="2696"/>
          <pc:sldLayoutMkLst>
            <pc:docMk/>
            <pc:sldMasterMk cId="1930222882" sldId="2147483871"/>
            <pc:sldLayoutMk cId="3990928252" sldId="214748387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211" v="509" actId="2696"/>
          <pc:sldLayoutMkLst>
            <pc:docMk/>
            <pc:sldMasterMk cId="1930222882" sldId="2147483871"/>
            <pc:sldLayoutMk cId="1008698450" sldId="214748387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191" v="508" actId="2696"/>
          <pc:sldLayoutMkLst>
            <pc:docMk/>
            <pc:sldMasterMk cId="1930222882" sldId="2147483871"/>
            <pc:sldLayoutMk cId="2971210327" sldId="214748387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143" v="507" actId="2696"/>
          <pc:sldLayoutMkLst>
            <pc:docMk/>
            <pc:sldMasterMk cId="1930222882" sldId="2147483871"/>
            <pc:sldLayoutMk cId="91070411" sldId="214748387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105" v="506" actId="2696"/>
          <pc:sldLayoutMkLst>
            <pc:docMk/>
            <pc:sldMasterMk cId="1930222882" sldId="2147483871"/>
            <pc:sldLayoutMk cId="3980497537" sldId="214748387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058" v="505" actId="2696"/>
          <pc:sldLayoutMkLst>
            <pc:docMk/>
            <pc:sldMasterMk cId="1930222882" sldId="2147483871"/>
            <pc:sldLayoutMk cId="2934724370" sldId="214748387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1.027" v="504" actId="2696"/>
          <pc:sldLayoutMkLst>
            <pc:docMk/>
            <pc:sldMasterMk cId="1930222882" sldId="2147483871"/>
            <pc:sldLayoutMk cId="4074882602" sldId="2147483880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998" v="503" actId="2696"/>
          <pc:sldLayoutMkLst>
            <pc:docMk/>
            <pc:sldMasterMk cId="1930222882" sldId="2147483871"/>
            <pc:sldLayoutMk cId="2905555140" sldId="2147483881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982" v="502" actId="2696"/>
          <pc:sldLayoutMkLst>
            <pc:docMk/>
            <pc:sldMasterMk cId="1930222882" sldId="2147483871"/>
            <pc:sldLayoutMk cId="775345899" sldId="2147483882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951" v="501" actId="2696"/>
          <pc:sldLayoutMkLst>
            <pc:docMk/>
            <pc:sldMasterMk cId="1930222882" sldId="2147483871"/>
            <pc:sldLayoutMk cId="17696104" sldId="2147483883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842" v="500" actId="2696"/>
          <pc:sldLayoutMkLst>
            <pc:docMk/>
            <pc:sldMasterMk cId="1930222882" sldId="2147483871"/>
            <pc:sldLayoutMk cId="769558726" sldId="2147483884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826" v="499" actId="2696"/>
          <pc:sldLayoutMkLst>
            <pc:docMk/>
            <pc:sldMasterMk cId="1930222882" sldId="2147483871"/>
            <pc:sldLayoutMk cId="179734341" sldId="2147483885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811" v="498" actId="2696"/>
          <pc:sldLayoutMkLst>
            <pc:docMk/>
            <pc:sldMasterMk cId="1930222882" sldId="2147483871"/>
            <pc:sldLayoutMk cId="93553805" sldId="2147483886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792" v="497" actId="2696"/>
          <pc:sldLayoutMkLst>
            <pc:docMk/>
            <pc:sldMasterMk cId="1930222882" sldId="2147483871"/>
            <pc:sldLayoutMk cId="3775080286" sldId="2147483887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726" v="496" actId="2696"/>
          <pc:sldLayoutMkLst>
            <pc:docMk/>
            <pc:sldMasterMk cId="1930222882" sldId="2147483871"/>
            <pc:sldLayoutMk cId="1697308635" sldId="2147483888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209" v="495" actId="2696"/>
          <pc:sldLayoutMkLst>
            <pc:docMk/>
            <pc:sldMasterMk cId="1930222882" sldId="2147483871"/>
            <pc:sldLayoutMk cId="562934485" sldId="2147483889"/>
          </pc:sldLayoutMkLst>
        </pc:sldLayoutChg>
        <pc:sldLayoutChg chg="del">
          <pc:chgData name="CAUSSIDOU, Fabienne" userId="d3b93ce2-b4f2-4ea8-90dc-56594dbc3f3f" providerId="ADAL" clId="{823277E2-3355-481F-B9B4-CEA109FA052E}" dt="2021-07-26T09:04:00.024" v="494" actId="2696"/>
          <pc:sldLayoutMkLst>
            <pc:docMk/>
            <pc:sldMasterMk cId="1930222882" sldId="2147483871"/>
            <pc:sldLayoutMk cId="3375495360" sldId="2147483890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875" v="493" actId="2696"/>
          <pc:sldLayoutMkLst>
            <pc:docMk/>
            <pc:sldMasterMk cId="1930222882" sldId="2147483871"/>
            <pc:sldLayoutMk cId="747790021" sldId="2147483891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708" v="492" actId="2696"/>
          <pc:sldLayoutMkLst>
            <pc:docMk/>
            <pc:sldMasterMk cId="1930222882" sldId="2147483871"/>
            <pc:sldLayoutMk cId="415969053" sldId="2147483892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523" v="491" actId="2696"/>
          <pc:sldLayoutMkLst>
            <pc:docMk/>
            <pc:sldMasterMk cId="1930222882" sldId="2147483871"/>
            <pc:sldLayoutMk cId="3042244387" sldId="2147483893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307" v="490" actId="2696"/>
          <pc:sldLayoutMkLst>
            <pc:docMk/>
            <pc:sldMasterMk cId="1930222882" sldId="2147483871"/>
            <pc:sldLayoutMk cId="3646303896" sldId="2147483894"/>
          </pc:sldLayoutMkLst>
        </pc:sldLayoutChg>
        <pc:sldLayoutChg chg="del">
          <pc:chgData name="CAUSSIDOU, Fabienne" userId="d3b93ce2-b4f2-4ea8-90dc-56594dbc3f3f" providerId="ADAL" clId="{823277E2-3355-481F-B9B4-CEA109FA052E}" dt="2021-07-26T09:03:59.107" v="489" actId="2696"/>
          <pc:sldLayoutMkLst>
            <pc:docMk/>
            <pc:sldMasterMk cId="1930222882" sldId="2147483871"/>
            <pc:sldLayoutMk cId="3273538202" sldId="2147483895"/>
          </pc:sldLayoutMkLst>
        </pc:sldLayoutChg>
        <pc:sldLayoutChg chg="del">
          <pc:chgData name="CAUSSIDOU, Fabienne" userId="d3b93ce2-b4f2-4ea8-90dc-56594dbc3f3f" providerId="ADAL" clId="{823277E2-3355-481F-B9B4-CEA109FA052E}" dt="2021-07-26T09:03:58.737" v="488" actId="2696"/>
          <pc:sldLayoutMkLst>
            <pc:docMk/>
            <pc:sldMasterMk cId="1930222882" sldId="2147483871"/>
            <pc:sldLayoutMk cId="1689295707" sldId="2147483896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2C946276-D21D-4915-AABF-FD3F7205B5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FBCDC04-888C-4553-B6EE-17F3129C90B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3DD93A-8BC7-4623-A268-97DEEA487B85}" type="datetimeFigureOut">
              <a:rPr lang="fr-FR" smtClean="0"/>
              <a:t>26/07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1E17A5-C6CD-4999-845D-7D724D0140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6684F22-28D3-4757-A784-24A16D5BC1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7BC77C-579F-495E-B6A4-1EEC7E61CF4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21603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DD8C9-0475-49D2-A4CE-2216B541EAE4}" type="datetimeFigureOut">
              <a:rPr lang="en-US" smtClean="0"/>
              <a:t>7/26/2023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C32D44-CC05-493D-B94D-99F179F8F59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70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314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9952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939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4963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2873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9952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268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6257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606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521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280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0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312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3358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6257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804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1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rgbClr val="3391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50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9" y="886856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927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3 Guidelines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05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rgbClr val="3391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427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3 Guidelines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568609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3 Guidelines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3906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FACED38F-1881-4DE7-84DD-706FA4B763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23102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347" imgH="348" progId="TCLayout.ActiveDocument.1">
                  <p:embed/>
                </p:oleObj>
              </mc:Choice>
              <mc:Fallback>
                <p:oleObj name="Diapositive think-cell" r:id="rId9" imgW="347" imgH="348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FACED38F-1881-4DE7-84DD-706FA4B76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27449-1A08-4C98-8F04-3ABC68EAE4E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1E1E1E"/>
                </a:solidFill>
              </a:rPr>
              <a:t>LTP 2023 Guidelines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2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2" r:id="rId3"/>
    <p:sldLayoutId id="2147483694" r:id="rId4"/>
    <p:sldLayoutId id="2147483697" r:id="rId5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7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5EB120-D7CD-4ADD-AC99-483DF6B1E5E2}"/>
              </a:ext>
            </a:extLst>
          </p:cNvPr>
          <p:cNvSpPr/>
          <p:nvPr/>
        </p:nvSpPr>
        <p:spPr>
          <a:xfrm>
            <a:off x="11568112" y="0"/>
            <a:ext cx="62312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7D2B60E1-2DAC-4329-B849-9CB70F3C1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84752" y="548680"/>
            <a:ext cx="5683360" cy="1260562"/>
          </a:xfrm>
        </p:spPr>
        <p:txBody>
          <a:bodyPr/>
          <a:lstStyle/>
          <a:p>
            <a:r>
              <a:rPr lang="en-ZA" dirty="0">
                <a:solidFill>
                  <a:srgbClr val="FF0000"/>
                </a:solidFill>
              </a:rPr>
              <a:t>Long Term Plan 2024 - 2029</a:t>
            </a:r>
          </a:p>
        </p:txBody>
      </p:sp>
      <p:sp>
        <p:nvSpPr>
          <p:cNvPr id="2" name="Sous-titre 1">
            <a:extLst>
              <a:ext uri="{FF2B5EF4-FFF2-40B4-BE49-F238E27FC236}">
                <a16:creationId xmlns:a16="http://schemas.microsoft.com/office/drawing/2014/main" id="{15A27901-FBC1-4867-900D-E3319FAD2C8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36000" tIns="0" rIns="36000" bIns="0" rtlCol="0" anchor="t">
            <a:noAutofit/>
          </a:bodyPr>
          <a:lstStyle/>
          <a:p>
            <a:r>
              <a:rPr lang="en-US" dirty="0"/>
              <a:t>Presentation - Country / segment</a:t>
            </a:r>
          </a:p>
          <a:p>
            <a:endParaRPr lang="en-US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B8AC72BC-6A1A-4606-AA4E-67F218BE04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36000" tIns="0" rIns="3600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ea typeface="Verdana"/>
                <a:cs typeface="Verdana"/>
              </a:rPr>
              <a:t>#Meeting date#</a:t>
            </a:r>
          </a:p>
        </p:txBody>
      </p:sp>
      <p:pic>
        <p:nvPicPr>
          <p:cNvPr id="5" name="Espace réservé pour une image  4">
            <a:extLst>
              <a:ext uri="{FF2B5EF4-FFF2-40B4-BE49-F238E27FC236}">
                <a16:creationId xmlns:a16="http://schemas.microsoft.com/office/drawing/2014/main" id="{B4931CE9-8938-493F-8FCD-070D95FE570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143" b="41143"/>
          <a:stretch>
            <a:fillRect/>
          </a:stretch>
        </p:blipFill>
        <p:spPr/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F85C658-4E21-47F3-9440-7CD7FEF50BC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24756" y="1506552"/>
            <a:ext cx="1013906" cy="10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0596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Key Indicators – Total LTP 2023 (2025-2029)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2" y="1467127"/>
            <a:ext cx="3600000" cy="4320000"/>
          </a:xfrm>
          <a:prstGeom prst="round2DiagRect">
            <a:avLst/>
          </a:prstGeom>
          <a:ln w="9525">
            <a:solidFill>
              <a:srgbClr val="3391A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0" rIns="36000" bIns="0" rtlCol="0" anchor="t">
            <a:noAutofit/>
          </a:bodyPr>
          <a:lstStyle/>
          <a:p>
            <a:r>
              <a:rPr lang="fr-F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1</a:t>
            </a:r>
          </a:p>
          <a:p>
            <a:r>
              <a:rPr lang="fr-F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2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lvl="2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05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E0C4D55-9740-6DF5-69E5-D8AD0A81D2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4906" y="1584014"/>
            <a:ext cx="676275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1756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Key Indicators – Total LTP 2023 (2025-2029)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2" y="1467127"/>
            <a:ext cx="3600000" cy="4320000"/>
          </a:xfrm>
          <a:prstGeom prst="round2DiagRect">
            <a:avLst/>
          </a:prstGeom>
          <a:ln w="9525">
            <a:solidFill>
              <a:srgbClr val="3391A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0" rIns="36000" bIns="0" rtlCol="0" anchor="t">
            <a:noAutofit/>
          </a:bodyPr>
          <a:lstStyle/>
          <a:p>
            <a:r>
              <a:rPr lang="fr-F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1</a:t>
            </a:r>
          </a:p>
          <a:p>
            <a:r>
              <a:rPr lang="fr-F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2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lvl="2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050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3AB9B69-DB6F-C709-A83C-C5C3D8AA19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8662" y="1467127"/>
            <a:ext cx="6810375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518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Revenue bridge – Total LTP 2023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 flipH="1">
            <a:off x="8094133" y="1522715"/>
            <a:ext cx="3600000" cy="4320000"/>
          </a:xfrm>
          <a:prstGeom prst="round2DiagRect">
            <a:avLst/>
          </a:prstGeom>
          <a:ln w="9525">
            <a:solidFill>
              <a:srgbClr val="3391A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0" rIns="36000" bIns="0" rtlCol="0" anchor="t"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fr-FR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mments</a:t>
            </a:r>
            <a:r>
              <a:rPr lang="fr-FR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n main change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ent 1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ent 2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ent 3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ent 1</a:t>
            </a:r>
          </a:p>
          <a:p>
            <a:pPr lvl="2"/>
            <a:endParaRPr lang="en-US" sz="105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90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44DF39A-FC4E-36B3-3A09-DC5CEAAC07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67" y="1854829"/>
            <a:ext cx="6925975" cy="306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1626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A0A3042-8197-4AE9-9C75-A88BA4A35A20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3. Zero Growth Plan</a:t>
            </a:r>
          </a:p>
        </p:txBody>
      </p:sp>
      <p:pic>
        <p:nvPicPr>
          <p:cNvPr id="6" name="Espace réservé pour une image  5" descr="Une image contenant texte, rouge, aire de jeux&#10;&#10;Description générée automatiquement">
            <a:extLst>
              <a:ext uri="{FF2B5EF4-FFF2-40B4-BE49-F238E27FC236}">
                <a16:creationId xmlns:a16="http://schemas.microsoft.com/office/drawing/2014/main" id="{B331579D-87A7-4271-8E12-457A386E4AE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767107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Zero Growth Plan  - Commercial Defensive - Revenu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2" y="1467127"/>
            <a:ext cx="3600000" cy="4320000"/>
          </a:xfrm>
          <a:prstGeom prst="round2DiagRect">
            <a:avLst/>
          </a:prstGeom>
          <a:ln w="9525">
            <a:solidFill>
              <a:srgbClr val="3391A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0" rIns="36000" bIns="0" rtlCol="0" anchor="t">
            <a:noAutofit/>
          </a:bodyPr>
          <a:lstStyle/>
          <a:p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Growth of the existing portfolio for each segment consistently with the expected market growth</a:t>
            </a:r>
          </a:p>
          <a:p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Renewal rate assumption by segment</a:t>
            </a:r>
          </a:p>
          <a:p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Assumptions about margin before and after renewal</a:t>
            </a:r>
          </a:p>
          <a:p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Probability rate of renewal by contract</a:t>
            </a:r>
          </a:p>
          <a:p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lvl="2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050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4E9E1E6-44AE-F8FB-B595-98DEA6D0FF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257" y="3939277"/>
            <a:ext cx="3590925" cy="184785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E5787740-0FCF-3C64-3DB5-244984D3BE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8802" y="1467127"/>
            <a:ext cx="6921176" cy="365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7666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Zero Growth Plan  - Performance – EBIT trend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 flipH="1">
            <a:off x="353432" y="4267199"/>
            <a:ext cx="10915699" cy="1978162"/>
          </a:xfrm>
          <a:prstGeom prst="round2DiagRect">
            <a:avLst/>
          </a:prstGeom>
          <a:ln w="9525">
            <a:solidFill>
              <a:srgbClr val="3391A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0" rIns="36000" bIns="0" numCol="2" rtlCol="0" anchor="t">
            <a:noAutofit/>
          </a:bodyPr>
          <a:lstStyle/>
          <a:p>
            <a:r>
              <a:rPr lang="en-US" sz="1100" b="1" dirty="0"/>
              <a:t>Margin evolutions (EBI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Margin improvement by segmen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Implemented action plans : specify on which contracts if significan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Impacts on margi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r>
              <a:rPr lang="en-US" sz="1100" b="1" dirty="0"/>
              <a:t>Comments on transverse actions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Purchase : fleet, fuel and sub-contracti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Operatio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SG&amp;A evolu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IT systems deployment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Assets disposal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50" dirty="0"/>
              <a:t>….</a:t>
            </a:r>
          </a:p>
          <a:p>
            <a:endParaRPr lang="en-US" sz="1100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4CB3B90F-AA5C-607A-920B-9C117EA94F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7064" y="1272671"/>
            <a:ext cx="5982067" cy="283190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31D0E2D-FD9F-9687-F91A-D869D9A61F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452" y="1454448"/>
            <a:ext cx="3657253" cy="2292447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2602A9E8-8E85-544F-C7E0-8DC390A14B9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29" t="1582" r="2172"/>
          <a:stretch/>
        </p:blipFill>
        <p:spPr>
          <a:xfrm>
            <a:off x="7428413" y="4319451"/>
            <a:ext cx="2838994" cy="191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181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Zero Growth Plan  - CAPEX Requirement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 flipH="1">
            <a:off x="4104166" y="1439333"/>
            <a:ext cx="7164964" cy="4806028"/>
          </a:xfrm>
          <a:prstGeom prst="round2DiagRect">
            <a:avLst/>
          </a:prstGeom>
          <a:ln w="9525">
            <a:solidFill>
              <a:srgbClr val="3391A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0" rIns="36000" bIns="0" numCol="1" rtlCol="0" anchor="t">
            <a:noAutofit/>
          </a:bodyPr>
          <a:lstStyle/>
          <a:p>
            <a:r>
              <a:rPr lang="en-US" sz="1100" b="1" dirty="0"/>
              <a:t>Financing policy of rolling sto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nvestments in CAPEX (all financing mod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Obligations in terms of fleet renew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Detail of fleet renewal commit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Number of vehicle to rene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Global comment on average age of the fleet by activity seg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Detail and comments about assumptions: unit price of vehicle, monthly lease payment</a:t>
            </a:r>
          </a:p>
          <a:p>
            <a:r>
              <a:rPr lang="en-US" sz="1100" b="1" dirty="0"/>
              <a:t>Comments on other CAP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Build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T, …</a:t>
            </a:r>
          </a:p>
          <a:p>
            <a:pPr marL="0" lvl="1" indent="-171450">
              <a:buFont typeface="Arial" panose="020B0604020202020204" pitchFamily="34" charset="0"/>
              <a:buChar char="•"/>
            </a:pPr>
            <a:r>
              <a:rPr lang="en-US" sz="1100" b="1" dirty="0"/>
              <a:t>Assets disposals</a:t>
            </a:r>
            <a:endParaRPr lang="en-US" sz="1100" dirty="0"/>
          </a:p>
          <a:p>
            <a:endParaRPr lang="en-US" sz="1100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B976BFB-30EA-62DC-42D3-2ADF9497B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754" y="1421226"/>
            <a:ext cx="3620396" cy="2966329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4CAC46F-B43D-A68E-A157-3A3822A4D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1175" y="3510701"/>
            <a:ext cx="3945549" cy="2663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428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A0A3042-8197-4AE9-9C75-A88BA4A35A20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4. Growth Plan</a:t>
            </a:r>
          </a:p>
        </p:txBody>
      </p:sp>
      <p:pic>
        <p:nvPicPr>
          <p:cNvPr id="6" name="Espace réservé pour une image  5" descr="Une image contenant texte, rouge, aire de jeux&#10;&#10;Description générée automatiquement">
            <a:extLst>
              <a:ext uri="{FF2B5EF4-FFF2-40B4-BE49-F238E27FC236}">
                <a16:creationId xmlns:a16="http://schemas.microsoft.com/office/drawing/2014/main" id="{B331579D-87A7-4271-8E12-457A386E4AE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87140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Organic Growth - Assumption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1" y="1278416"/>
            <a:ext cx="11486071" cy="3385542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Assumptions activity 1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1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2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3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Assumptions activity 2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1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2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3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Assumptions activity 3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1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2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etail 3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20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128826E-FDFC-443F-F2D2-DC7BC76AA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5379" y="1365419"/>
            <a:ext cx="7245427" cy="3523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5010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Key Indicators – Organic Growth Plan 2023 (2025-2029)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 flipH="1">
            <a:off x="3970865" y="1382459"/>
            <a:ext cx="6790267" cy="4694768"/>
          </a:xfrm>
          <a:prstGeom prst="round2DiagRect">
            <a:avLst/>
          </a:prstGeom>
          <a:ln w="9525">
            <a:solidFill>
              <a:srgbClr val="3391A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0" rIns="36000" bIns="0" rtlCol="0" anchor="t">
            <a:noAutofit/>
          </a:bodyPr>
          <a:lstStyle/>
          <a:p>
            <a:r>
              <a:rPr lang="fr-F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1</a:t>
            </a:r>
          </a:p>
          <a:p>
            <a:r>
              <a:rPr lang="fr-F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2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lvl="2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05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C1EBC64-9C44-7591-4AB0-955A04EFCB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182" y="1282876"/>
            <a:ext cx="2986623" cy="511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226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Synthetic table of analysis required</a:t>
            </a:r>
            <a:endParaRPr lang="fr-FR" dirty="0">
              <a:solidFill>
                <a:srgbClr val="3391AA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AC7F8560-B776-4244-AF78-9DF80A10A3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6912336"/>
              </p:ext>
            </p:extLst>
          </p:nvPr>
        </p:nvGraphicFramePr>
        <p:xfrm>
          <a:off x="335359" y="1904159"/>
          <a:ext cx="11521281" cy="42823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2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37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04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398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750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Type of analysis</a:t>
                      </a:r>
                    </a:p>
                  </a:txBody>
                  <a:tcPr>
                    <a:solidFill>
                      <a:srgbClr val="3391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Indicators</a:t>
                      </a:r>
                    </a:p>
                  </a:txBody>
                  <a:tcPr>
                    <a:solidFill>
                      <a:srgbClr val="3391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Minimum requirements</a:t>
                      </a:r>
                    </a:p>
                  </a:txBody>
                  <a:tcPr>
                    <a:solidFill>
                      <a:srgbClr val="3391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Template</a:t>
                      </a:r>
                    </a:p>
                  </a:txBody>
                  <a:tcPr>
                    <a:solidFill>
                      <a:srgbClr val="3391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8124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Assumptions </a:t>
                      </a:r>
                    </a:p>
                    <a:p>
                      <a:pPr algn="l"/>
                      <a:r>
                        <a:rPr lang="en-US" sz="1000" b="1" noProof="0" dirty="0"/>
                        <a:t>ZGP and organic growth</a:t>
                      </a:r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jor assumptions of the plan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ewals / win / losses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vestments: detail of capex (whatever the financing mode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enue per contract ZGP &amp; growth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gin expectations and ROCE on new contracts</a:t>
                      </a:r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enue per contract &gt;10M€</a:t>
                      </a:r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GP – Pages 14 to 16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owth</a:t>
                      </a:r>
                      <a:r>
                        <a:rPr lang="fr-FR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lan -  pages 18 to 20</a:t>
                      </a: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8597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omparison with 2022 sensitivity LTP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Revenue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EBIT 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Investments (all financing modes)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FCF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st year plan’s financial metrics, on EBIT and Free Cash Flow for the 3 first years of the plan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ges</a:t>
                      </a:r>
                      <a:r>
                        <a:rPr lang="fr-FR" sz="10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8 &amp; 9 </a:t>
                      </a: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312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Year on year analysis </a:t>
                      </a:r>
                      <a:r>
                        <a:rPr lang="en-US" sz="1000" b="0" noProof="0" dirty="0"/>
                        <a:t>(changes from one year to another)</a:t>
                      </a:r>
                      <a:endParaRPr lang="en-US" sz="1000" b="1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Revenue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EBIT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noProof="0" dirty="0"/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ewals, contracts won &amp; lost, indexation, operations &amp; performance, non recurring should be visibl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ract management actions sustaining profitability increase</a:t>
                      </a:r>
                      <a:endParaRPr lang="en-US" sz="1000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 – Page 12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GP – page 15</a:t>
                      </a: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US" sz="1000" b="1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BCD3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9687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onsistency of key indicators throughout the plan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BIT Margin (% ROA)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mortization level (% ROA) 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t Profit Margin (% ROA)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licit Interest rate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ee Cash Flow (FCF) level &amp; FCF &gt; 0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CE post tax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y major impact should be explained</a:t>
                      </a:r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0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e</a:t>
                      </a:r>
                      <a:r>
                        <a:rPr lang="fr-FR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eet</a:t>
                      </a:r>
                      <a:r>
                        <a:rPr lang="fr-FR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« Plan output » in the </a:t>
                      </a:r>
                      <a:r>
                        <a:rPr lang="fr-FR" sz="10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cel</a:t>
                      </a:r>
                      <a:r>
                        <a:rPr lang="fr-FR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ile</a:t>
                      </a:r>
                      <a:endParaRPr lang="en-US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6CAB8AE-0DBD-4FC2-B0B9-D9E380828061}"/>
              </a:ext>
            </a:extLst>
          </p:cNvPr>
          <p:cNvSpPr/>
          <p:nvPr/>
        </p:nvSpPr>
        <p:spPr>
          <a:xfrm>
            <a:off x="335359" y="1259748"/>
            <a:ext cx="114250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ask you to simplify and limit the size of your presentation as much as possible and focus on key points</a:t>
            </a:r>
          </a:p>
        </p:txBody>
      </p:sp>
    </p:spTree>
    <p:extLst>
      <p:ext uri="{BB962C8B-B14F-4D97-AF65-F5344CB8AC3E}">
        <p14:creationId xmlns:p14="http://schemas.microsoft.com/office/powerpoint/2010/main" val="28422231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Organic growth - CAPEX Requirement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 flipH="1">
            <a:off x="4104166" y="1439333"/>
            <a:ext cx="7164964" cy="4806028"/>
          </a:xfrm>
          <a:prstGeom prst="round2DiagRect">
            <a:avLst/>
          </a:prstGeom>
          <a:ln w="9525">
            <a:solidFill>
              <a:srgbClr val="3391A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36000" tIns="0" rIns="36000" bIns="0" numCol="1" rtlCol="0" anchor="t">
            <a:noAutofit/>
          </a:bodyPr>
          <a:lstStyle/>
          <a:p>
            <a:r>
              <a:rPr lang="en-US" sz="1100" b="1" dirty="0"/>
              <a:t>Financing policy of rolling sto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nvestments in CAPEX (all financing mod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Obligations in terms of flee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Detail of fleet commit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Number of vehic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Global comment on average age of the fleet by activity seg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Detail and comments about assumptions: unit price of vehicle, monthly lease payment</a:t>
            </a:r>
          </a:p>
          <a:p>
            <a:r>
              <a:rPr lang="en-US" sz="1100" b="1" dirty="0"/>
              <a:t>Comments on other CAP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Build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T, …</a:t>
            </a:r>
          </a:p>
          <a:p>
            <a:pPr marL="0" lvl="1" indent="-171450">
              <a:buFont typeface="Arial" panose="020B0604020202020204" pitchFamily="34" charset="0"/>
              <a:buChar char="•"/>
            </a:pPr>
            <a:r>
              <a:rPr lang="en-US" sz="1100" b="1" dirty="0"/>
              <a:t>Assets disposals</a:t>
            </a:r>
            <a:endParaRPr lang="en-US" sz="1100" dirty="0"/>
          </a:p>
          <a:p>
            <a:endParaRPr lang="en-US" sz="1100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B976BFB-30EA-62DC-42D3-2ADF9497B4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754" y="1421226"/>
            <a:ext cx="3620396" cy="2966329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80588DEA-1A08-1660-93BE-3D3BCE29A7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948" y="3521798"/>
            <a:ext cx="4034128" cy="272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223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A0A3042-8197-4AE9-9C75-A88BA4A35A20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1. Strategic Review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EEC69B4D-2C9F-4997-A859-0587DBE1CA4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FEC8912-E99C-498B-B497-D98B7CE2B6B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4959" y="0"/>
            <a:ext cx="45707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7434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r>
              <a:rPr lang="en-ZA" dirty="0">
                <a:solidFill>
                  <a:srgbClr val="3391AA"/>
                </a:solidFill>
              </a:rPr>
              <a:t>Implementation in the LTP of the decision statement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E82FE9-793A-4CC8-BD1D-5D73BACA03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0521" y="1656019"/>
            <a:ext cx="4574942" cy="39319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6D2F837-8373-47CA-8258-50ACD9886954}"/>
              </a:ext>
            </a:extLst>
          </p:cNvPr>
          <p:cNvCxnSpPr>
            <a:cxnSpLocks/>
          </p:cNvCxnSpPr>
          <p:nvPr/>
        </p:nvCxnSpPr>
        <p:spPr>
          <a:xfrm>
            <a:off x="5889880" y="1663939"/>
            <a:ext cx="0" cy="3924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riangle isocèle 7">
            <a:extLst>
              <a:ext uri="{FF2B5EF4-FFF2-40B4-BE49-F238E27FC236}">
                <a16:creationId xmlns:a16="http://schemas.microsoft.com/office/drawing/2014/main" id="{D3FF2CF4-C507-4562-9897-7F520FD487F2}"/>
              </a:ext>
            </a:extLst>
          </p:cNvPr>
          <p:cNvSpPr/>
          <p:nvPr/>
        </p:nvSpPr>
        <p:spPr>
          <a:xfrm rot="5400000">
            <a:off x="5795461" y="3406442"/>
            <a:ext cx="457196" cy="268357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space réservé du pied de page 3">
            <a:extLst>
              <a:ext uri="{FF2B5EF4-FFF2-40B4-BE49-F238E27FC236}">
                <a16:creationId xmlns:a16="http://schemas.microsoft.com/office/drawing/2014/main" id="{5CA3C053-73B0-453F-9B30-AB04EC19C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420FE7C-DE35-4672-8314-313C884FD2EE}"/>
              </a:ext>
            </a:extLst>
          </p:cNvPr>
          <p:cNvSpPr txBox="1">
            <a:spLocks noGrp="1"/>
          </p:cNvSpPr>
          <p:nvPr>
            <p:ph type="body" sz="quarter" idx="12"/>
          </p:nvPr>
        </p:nvSpPr>
        <p:spPr>
          <a:xfrm>
            <a:off x="153913" y="1338671"/>
            <a:ext cx="5368702" cy="3862596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lvl="1"/>
            <a:endParaRPr lang="en-US" sz="3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3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ision statement should be strictly applied.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specific slide will have to compare decision statement with effective hypothesis taken in LTP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y deviance should be previously validated with Strategy Depart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tract management actions would have to be highlighted in your present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segments of activities defined as red or orange, countries will present the underlying action plan for recovery (timeline, specific milestones) and a year on year bridge sustaining profitability turnarou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ea typeface="Verdana"/>
              </a:rPr>
              <a:t>For segments of activities defined as yellow, countries will present their growth assumptions and explain the level of development costs, the capital intensity and level of margin retain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y significant contract considered at risk 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ZGP and Growth)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ill be isolated on a dedicated segment to update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TP if necessa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300" b="1" dirty="0">
              <a:solidFill>
                <a:srgbClr val="3391AA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300" b="1" dirty="0">
              <a:solidFill>
                <a:srgbClr val="3391AA"/>
              </a:solidFill>
              <a:latin typeface="+mj-lt"/>
              <a:ea typeface="+mj-ea"/>
              <a:cs typeface="+mj-cs"/>
            </a:endParaRPr>
          </a:p>
          <a:p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6189105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Strategic review – main comment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1" y="1278416"/>
            <a:ext cx="11486071" cy="3139321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1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Xxxxxxxxxxxxxxx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2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Xxxxxxxxxxxxxxx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3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Xxxxxxxxxxxxxxx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4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Xxxxxxxxxxxxxxx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1257300" lvl="2" indent="-342900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5380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A0A3042-8197-4AE9-9C75-A88BA4A35A20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2. Executive Summary</a:t>
            </a:r>
          </a:p>
        </p:txBody>
      </p:sp>
      <p:pic>
        <p:nvPicPr>
          <p:cNvPr id="6" name="Espace réservé pour une image  5" descr="Une image contenant texte, extérieur, transport, très coloré&#10;&#10;Description générée automatiquement">
            <a:extLst>
              <a:ext uri="{FF2B5EF4-FFF2-40B4-BE49-F238E27FC236}">
                <a16:creationId xmlns:a16="http://schemas.microsoft.com/office/drawing/2014/main" id="{D87531EF-883D-453A-BCAD-0CC0C749527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025093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Executive Summary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1" y="1278416"/>
            <a:ext cx="11486071" cy="3139321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1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Xxxxxxxxxxxxxxx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2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Xxxxxxxxxxxxxxx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3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Xxxxxxxxxxxxxxx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4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Xxxxxxxxxxxxxxx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1257300" lvl="2" indent="-342900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51578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Executive Summary – Main change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B7D401D-DA6B-4E31-85B6-6F6F8BFBF20E}"/>
              </a:ext>
            </a:extLst>
          </p:cNvPr>
          <p:cNvSpPr txBox="1"/>
          <p:nvPr/>
        </p:nvSpPr>
        <p:spPr>
          <a:xfrm>
            <a:off x="9788409" y="5369255"/>
            <a:ext cx="2403591" cy="861774"/>
          </a:xfrm>
          <a:prstGeom prst="rect">
            <a:avLst/>
          </a:prstGeom>
          <a:noFill/>
          <a:ln>
            <a:solidFill>
              <a:schemeClr val="tx1">
                <a:alpha val="1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dirty="0"/>
              <a:t>Sheet 8a: Double click on the context and select an activity if you want to focus on a particular element</a:t>
            </a:r>
          </a:p>
          <a:p>
            <a:endParaRPr lang="en-US" sz="1000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5925CE5E-E494-0DFD-895B-193DB68D54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914" y="1318010"/>
            <a:ext cx="9297464" cy="491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30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Executive Summary – Comments on main change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3 Guidelines</a:t>
            </a:r>
            <a:endParaRPr lang="en-US" noProof="0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1" y="1278416"/>
            <a:ext cx="11486071" cy="1661993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fr-FR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s</a:t>
            </a:r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on main change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1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2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3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Comment 1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63361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2.70999999999999996447E+00&quot;&gt;&lt;m_msothmcolidx val=&quot;0&quot;/&gt;&lt;m_rgb r=&quot;EB&quot; g=&quot;F5&quot; b=&quot;21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cM3OfK6HSRzb.muMP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3" id="{1E83D51A-E8BA-4D23-B2AF-E4F2CAD9C42B}" vid="{B8E74ED0-DD96-4A61-BE6E-2A7D3AED12FB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b49a2378-73c7-4e4c-bff8-b85a2f404b86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8F41DDFC12A047B89ADFEAFA8CA40C" ma:contentTypeVersion="18" ma:contentTypeDescription="Crée un document." ma:contentTypeScope="" ma:versionID="1f7140a7bbedc0c2710b5bb791715270">
  <xsd:schema xmlns:xsd="http://www.w3.org/2001/XMLSchema" xmlns:xs="http://www.w3.org/2001/XMLSchema" xmlns:p="http://schemas.microsoft.com/office/2006/metadata/properties" xmlns:ns2="37c46d26-95e5-4380-a06b-df42f7fe1bef" xmlns:ns3="7ab32658-e8b5-4d7e-b280-1fb722dd2be1" targetNamespace="http://schemas.microsoft.com/office/2006/metadata/properties" ma:root="true" ma:fieldsID="99e5fd3a55f4560dcbc440286aaed2a9" ns2:_="" ns3:_="">
    <xsd:import namespace="37c46d26-95e5-4380-a06b-df42f7fe1bef"/>
    <xsd:import namespace="7ab32658-e8b5-4d7e-b280-1fb722dd2b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c46d26-95e5-4380-a06b-df42f7fe1b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b32658-e8b5-4d7e-b280-1fb722dd2be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82EEFA-504F-45F2-8AE5-40CE202450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778299-BF6B-423D-B7E5-1544D4BF39F0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6D06E7B6-FBED-40B7-BC83-4E113404BA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7c46d26-95e5-4380-a06b-df42f7fe1bef"/>
    <ds:schemaRef ds:uri="7ab32658-e8b5-4d7e-b280-1fb722dd2b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4BA26B13-BC85-4F15-B60D-F4FAA47C61DD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37c46d26-95e5-4380-a06b-df42f7fe1be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7ab32658-e8b5-4d7e-b280-1fb722dd2be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455</TotalTime>
  <Words>854</Words>
  <Application>Microsoft Office PowerPoint</Application>
  <PresentationFormat>Grand écran</PresentationFormat>
  <Paragraphs>200</Paragraphs>
  <Slides>20</Slides>
  <Notes>17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26" baseType="lpstr">
      <vt:lpstr>Arial</vt:lpstr>
      <vt:lpstr>Calibri</vt:lpstr>
      <vt:lpstr>Verdana</vt:lpstr>
      <vt:lpstr>Wingdings</vt:lpstr>
      <vt:lpstr>2_Transdev</vt:lpstr>
      <vt:lpstr>Diapositive think-cell</vt:lpstr>
      <vt:lpstr>Long Term Plan 2024 - 2029</vt:lpstr>
      <vt:lpstr>Synthetic table of analysis required</vt:lpstr>
      <vt:lpstr>1. Strategic Review</vt:lpstr>
      <vt:lpstr>Implementation in the LTP of the decision statement</vt:lpstr>
      <vt:lpstr>Strategic review – main comments</vt:lpstr>
      <vt:lpstr>2. Executive Summary</vt:lpstr>
      <vt:lpstr>Executive Summary</vt:lpstr>
      <vt:lpstr>Executive Summary – Main changes</vt:lpstr>
      <vt:lpstr>Executive Summary – Comments on main changes</vt:lpstr>
      <vt:lpstr>Key Indicators – Total LTP 2023 (2025-2029)</vt:lpstr>
      <vt:lpstr>Key Indicators – Total LTP 2023 (2025-2029)</vt:lpstr>
      <vt:lpstr>Revenue bridge – Total LTP 2023</vt:lpstr>
      <vt:lpstr>3. Zero Growth Plan</vt:lpstr>
      <vt:lpstr>Zero Growth Plan  - Commercial Defensive - Revenue</vt:lpstr>
      <vt:lpstr>Zero Growth Plan  - Performance – EBIT trends</vt:lpstr>
      <vt:lpstr>Zero Growth Plan  - CAPEX Requirements</vt:lpstr>
      <vt:lpstr>4. Growth Plan</vt:lpstr>
      <vt:lpstr>Organic Growth - Assumptions</vt:lpstr>
      <vt:lpstr>Key Indicators – Organic Growth Plan 2023 (2025-2029)</vt:lpstr>
      <vt:lpstr>Organic growth - CAPEX Requir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sa.caballero@transdev.com</dc:creator>
  <cp:lastModifiedBy>MARTINEAU, Julie</cp:lastModifiedBy>
  <cp:revision>42</cp:revision>
  <cp:lastPrinted>2020-10-12T12:03:14Z</cp:lastPrinted>
  <dcterms:created xsi:type="dcterms:W3CDTF">2019-04-15T15:27:38Z</dcterms:created>
  <dcterms:modified xsi:type="dcterms:W3CDTF">2023-07-26T16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8F41DDFC12A047B89ADFEAFA8CA40C</vt:lpwstr>
  </property>
</Properties>
</file>